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3"/>
  </p:notesMasterIdLst>
  <p:handoutMasterIdLst>
    <p:handoutMasterId r:id="rId44"/>
  </p:handoutMasterIdLst>
  <p:sldIdLst>
    <p:sldId id="376" r:id="rId2"/>
    <p:sldId id="406" r:id="rId3"/>
    <p:sldId id="377" r:id="rId4"/>
    <p:sldId id="447" r:id="rId5"/>
    <p:sldId id="371" r:id="rId6"/>
    <p:sldId id="379" r:id="rId7"/>
    <p:sldId id="381" r:id="rId8"/>
    <p:sldId id="380" r:id="rId9"/>
    <p:sldId id="382" r:id="rId10"/>
    <p:sldId id="383" r:id="rId11"/>
    <p:sldId id="449" r:id="rId12"/>
    <p:sldId id="384" r:id="rId13"/>
    <p:sldId id="385" r:id="rId14"/>
    <p:sldId id="450" r:id="rId15"/>
    <p:sldId id="386" r:id="rId16"/>
    <p:sldId id="387" r:id="rId17"/>
    <p:sldId id="388" r:id="rId18"/>
    <p:sldId id="445" r:id="rId19"/>
    <p:sldId id="389" r:id="rId20"/>
    <p:sldId id="390" r:id="rId21"/>
    <p:sldId id="391" r:id="rId22"/>
    <p:sldId id="392" r:id="rId23"/>
    <p:sldId id="394" r:id="rId24"/>
    <p:sldId id="396" r:id="rId25"/>
    <p:sldId id="395" r:id="rId26"/>
    <p:sldId id="397" r:id="rId27"/>
    <p:sldId id="398" r:id="rId28"/>
    <p:sldId id="437" r:id="rId29"/>
    <p:sldId id="438" r:id="rId30"/>
    <p:sldId id="439" r:id="rId31"/>
    <p:sldId id="440" r:id="rId32"/>
    <p:sldId id="402" r:id="rId33"/>
    <p:sldId id="403" r:id="rId34"/>
    <p:sldId id="404" r:id="rId35"/>
    <p:sldId id="405" r:id="rId36"/>
    <p:sldId id="444" r:id="rId37"/>
    <p:sldId id="441" r:id="rId38"/>
    <p:sldId id="442" r:id="rId39"/>
    <p:sldId id="443" r:id="rId40"/>
    <p:sldId id="448" r:id="rId41"/>
    <p:sldId id="370" r:id="rId42"/>
  </p:sldIdLst>
  <p:sldSz cx="11518900" cy="6480175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41">
          <p15:clr>
            <a:srgbClr val="A4A3A4"/>
          </p15:clr>
        </p15:guide>
        <p15:guide id="2" pos="3635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ing li" initials="pl" lastIdx="1" clrIdx="0"/>
  <p:cmAuthor id="2" name="ACER" initials="A" lastIdx="0" clrIdx="1">
    <p:extLst>
      <p:ext uri="{19B8F6BF-5375-455C-9EA6-DF929625EA0E}">
        <p15:presenceInfo xmlns:p15="http://schemas.microsoft.com/office/powerpoint/2012/main" userId="AC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5CD"/>
    <a:srgbClr val="4F81BD"/>
    <a:srgbClr val="202020"/>
    <a:srgbClr val="5F96C3"/>
    <a:srgbClr val="141F25"/>
    <a:srgbClr val="0288D1"/>
    <a:srgbClr val="E54F00"/>
    <a:srgbClr val="00DB93"/>
    <a:srgbClr val="E9EDF4"/>
    <a:srgbClr val="D0D8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21" autoAdjust="0"/>
    <p:restoredTop sz="93987" autoAdjust="0"/>
  </p:normalViewPr>
  <p:slideViewPr>
    <p:cSldViewPr>
      <p:cViewPr varScale="1">
        <p:scale>
          <a:sx n="73" d="100"/>
          <a:sy n="73" d="100"/>
        </p:scale>
        <p:origin x="364" y="44"/>
      </p:cViewPr>
      <p:guideLst>
        <p:guide orient="horz" pos="2041"/>
        <p:guide pos="363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notesMaster" Target="notesMasters/notesMaster1.xml"/><Relationship Id="rId48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FBC01C-0604-4629-ACC8-3F5670522AC3}" type="datetimeFigureOut">
              <a:rPr lang="zh-CN" altLang="en-US" smtClean="0"/>
              <a:t>2024/8/29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842B2D-961B-4F11-9D4F-F4B940EBF9F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3799790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05765E-E08B-4CCB-AE85-B4DEE85320BC}" type="datetimeFigureOut">
              <a:rPr lang="zh-CN" altLang="en-US" smtClean="0"/>
              <a:t>2024/8/2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B44498C-04FC-4C57-9267-2C30343E44F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0534802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1200" dirty="0" smtClean="0">
                <a:solidFill>
                  <a:srgbClr val="E7E6E6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今天，锐捷网络已经成为行业领先的网络设备及行业解决方案提供商 。公司拥有</a:t>
            </a:r>
            <a:r>
              <a:rPr lang="en-US" altLang="zh-CN" sz="1200" dirty="0" smtClean="0">
                <a:solidFill>
                  <a:srgbClr val="E7E6E6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8000</a:t>
            </a:r>
            <a:r>
              <a:rPr lang="zh-CN" altLang="en-US" sz="1200" dirty="0" smtClean="0">
                <a:solidFill>
                  <a:srgbClr val="E7E6E6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余名员工，业务覆盖全球</a:t>
            </a:r>
            <a:r>
              <a:rPr lang="en-US" altLang="zh-CN" sz="1200" dirty="0" smtClean="0">
                <a:solidFill>
                  <a:srgbClr val="E7E6E6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90</a:t>
            </a:r>
            <a:r>
              <a:rPr lang="zh-CN" altLang="en-US" sz="1200" dirty="0" smtClean="0">
                <a:solidFill>
                  <a:srgbClr val="E7E6E6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多个国家和地区，合作伙伴</a:t>
            </a:r>
            <a:r>
              <a:rPr lang="en-US" altLang="zh-CN" sz="1200" dirty="0" smtClean="0">
                <a:solidFill>
                  <a:srgbClr val="E7E6E6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</a:t>
            </a:r>
            <a:r>
              <a:rPr lang="zh-CN" altLang="en-US" sz="1200" dirty="0" smtClean="0">
                <a:solidFill>
                  <a:srgbClr val="E7E6E6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万多家。作为一家重视技术创新科技型公司，锐捷设立了</a:t>
            </a:r>
            <a:r>
              <a:rPr lang="en-US" altLang="zh-CN" sz="1200" dirty="0" smtClean="0">
                <a:solidFill>
                  <a:srgbClr val="E7E6E6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8</a:t>
            </a:r>
            <a:r>
              <a:rPr lang="zh-CN" altLang="en-US" sz="1200" dirty="0" smtClean="0">
                <a:solidFill>
                  <a:srgbClr val="E7E6E6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大研发中心，走出了一条属于自身的自主研发的道路。</a:t>
            </a:r>
            <a:endParaRPr lang="en-US" altLang="zh-CN" sz="1200" dirty="0" smtClean="0">
              <a:solidFill>
                <a:srgbClr val="E7E6E6">
                  <a:lumMod val="2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b="0" i="0" u="none" strike="noStrike" dirty="0" smtClean="0">
                <a:solidFill>
                  <a:srgbClr val="202124"/>
                </a:solidFill>
                <a:effectLst/>
                <a:latin typeface="Helvetica" pitchFamily="2" charset="0"/>
              </a:rPr>
              <a:t>With the rapid development of network and communication technology, the network has been integrated into the daily life of people all over the world. This also leads to a huge, fast-growing, unimaginable marke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b="0" i="0" u="none" strike="noStrike" dirty="0" smtClean="0">
                <a:solidFill>
                  <a:srgbClr val="202124"/>
                </a:solidFill>
                <a:effectLst/>
                <a:latin typeface="Helvetica" pitchFamily="2" charset="0"/>
              </a:rPr>
              <a:t>At the beginning of the 21st century,</a:t>
            </a:r>
            <a:r>
              <a:rPr lang="zh-CN" altLang="en-US" b="0" i="0" u="none" strike="noStrike" dirty="0" smtClean="0">
                <a:solidFill>
                  <a:srgbClr val="202124"/>
                </a:solidFill>
                <a:effectLst/>
                <a:latin typeface="Helvetica" pitchFamily="2" charset="0"/>
              </a:rPr>
              <a:t> </a:t>
            </a:r>
            <a:r>
              <a:rPr lang="en-US" altLang="zh-CN" sz="1200" b="0" i="0" u="none" strike="noStrike" dirty="0" smtClean="0">
                <a:solidFill>
                  <a:srgbClr val="202124"/>
                </a:solidFill>
                <a:effectLst/>
                <a:latin typeface="Helvetica" pitchFamily="2" charset="0"/>
                <a:ea typeface="微软雅黑" panose="020B0503020204020204" pitchFamily="34" charset="-122"/>
                <a:cs typeface="微软雅黑" panose="020B0503020204020204" pitchFamily="34" charset="-122"/>
              </a:rPr>
              <a:t>Ruijie</a:t>
            </a:r>
            <a:r>
              <a:rPr lang="zh-CN" altLang="en-US" sz="1200" b="0" i="0" u="none" strike="noStrike" dirty="0" smtClean="0">
                <a:solidFill>
                  <a:srgbClr val="202124"/>
                </a:solidFill>
                <a:effectLst/>
                <a:latin typeface="Helvetica" pitchFamily="2" charset="0"/>
                <a:ea typeface="微软雅黑" panose="020B0503020204020204" pitchFamily="34" charset="-122"/>
                <a:cs typeface="微软雅黑" panose="020B0503020204020204" pitchFamily="34" charset="-122"/>
              </a:rPr>
              <a:t> </a:t>
            </a:r>
            <a:r>
              <a:rPr lang="en-US" altLang="zh-CN" sz="1200" b="0" i="0" u="none" strike="noStrike" dirty="0" smtClean="0">
                <a:solidFill>
                  <a:srgbClr val="202124"/>
                </a:solidFill>
                <a:effectLst/>
                <a:latin typeface="Helvetica" pitchFamily="2" charset="0"/>
                <a:ea typeface="微软雅黑" panose="020B0503020204020204" pitchFamily="34" charset="-122"/>
                <a:cs typeface="微软雅黑" panose="020B0503020204020204" pitchFamily="34" charset="-122"/>
              </a:rPr>
              <a:t>Networks</a:t>
            </a:r>
            <a:r>
              <a:rPr lang="zh-CN" altLang="en-US" sz="1200" b="0" i="0" u="none" strike="noStrike" dirty="0" smtClean="0">
                <a:solidFill>
                  <a:srgbClr val="202124"/>
                </a:solidFill>
                <a:effectLst/>
                <a:latin typeface="Helvetica" pitchFamily="2" charset="0"/>
                <a:ea typeface="微软雅黑" panose="020B0503020204020204" pitchFamily="34" charset="-122"/>
                <a:cs typeface="微软雅黑" panose="020B0503020204020204" pitchFamily="34" charset="-122"/>
              </a:rPr>
              <a:t> </a:t>
            </a:r>
            <a:r>
              <a:rPr lang="en-US" altLang="zh-CN" b="0" i="0" u="none" strike="noStrike" dirty="0" smtClean="0">
                <a:solidFill>
                  <a:srgbClr val="202124"/>
                </a:solidFill>
                <a:effectLst/>
                <a:latin typeface="Helvetica" pitchFamily="2" charset="0"/>
              </a:rPr>
              <a:t>was founded by a group of young people who are determined to change the world with technology and create a world-class brand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dirty="0" smtClean="0">
                <a:solidFill>
                  <a:srgbClr val="E7E6E6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Now,</a:t>
            </a:r>
            <a:r>
              <a:rPr lang="zh-CN" altLang="en-US" sz="1200" dirty="0" smtClean="0">
                <a:solidFill>
                  <a:srgbClr val="E7E6E6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</a:t>
            </a:r>
            <a:r>
              <a:rPr lang="en-US" altLang="zh-CN" sz="1200" dirty="0" smtClean="0">
                <a:solidFill>
                  <a:srgbClr val="E7E6E6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Ruijie</a:t>
            </a:r>
            <a:r>
              <a:rPr lang="zh-CN" altLang="en-US" sz="1200" dirty="0" smtClean="0">
                <a:solidFill>
                  <a:srgbClr val="E7E6E6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</a:t>
            </a:r>
            <a:r>
              <a:rPr lang="en-US" altLang="zh-CN" sz="1200" dirty="0" smtClean="0">
                <a:solidFill>
                  <a:srgbClr val="E7E6E6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has</a:t>
            </a:r>
            <a:r>
              <a:rPr lang="en-US" altLang="zh-CN" sz="1200" baseline="0" dirty="0" smtClean="0">
                <a:solidFill>
                  <a:srgbClr val="E7E6E6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become </a:t>
            </a:r>
            <a:r>
              <a:rPr lang="en-US" altLang="zh-CN" sz="1200" b="1" baseline="0" dirty="0" smtClean="0">
                <a:solidFill>
                  <a:srgbClr val="455866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t</a:t>
            </a:r>
            <a:r>
              <a:rPr lang="en-US" altLang="zh-CN" sz="1200" b="1" dirty="0" smtClean="0">
                <a:solidFill>
                  <a:srgbClr val="455866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he Industry-leading Network Infrastructure and solution Provider </a:t>
            </a:r>
            <a:r>
              <a:rPr lang="en-US" altLang="zh-CN" sz="1200" b="0" dirty="0" smtClean="0">
                <a:solidFill>
                  <a:srgbClr val="455866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with</a:t>
            </a:r>
            <a:r>
              <a:rPr lang="en-US" altLang="zh-CN" sz="1200" b="1" baseline="0" dirty="0" smtClean="0">
                <a:solidFill>
                  <a:srgbClr val="455866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en-US" altLang="zh-CN" sz="1200" dirty="0" smtClean="0">
                <a:solidFill>
                  <a:srgbClr val="E7E6E6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more than 8,000 employees and 20,000 </a:t>
            </a:r>
            <a:r>
              <a:rPr lang="en-US" altLang="zh-CN" sz="1200" dirty="0" err="1" smtClean="0">
                <a:solidFill>
                  <a:srgbClr val="E7E6E6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partners.Business</a:t>
            </a:r>
            <a:r>
              <a:rPr lang="en-US" altLang="zh-CN" sz="1200" dirty="0" smtClean="0">
                <a:solidFill>
                  <a:srgbClr val="E7E6E6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 coverage in 90+ countries and regions. </a:t>
            </a:r>
            <a:r>
              <a:rPr lang="en-US" altLang="zh-CN" b="0" i="0" u="none" strike="noStrike" dirty="0" smtClean="0">
                <a:solidFill>
                  <a:srgbClr val="202124"/>
                </a:solidFill>
                <a:effectLst/>
                <a:latin typeface="-apple-system"/>
              </a:rPr>
              <a:t>As a technology-based company that attaches importance to technological innovation.</a:t>
            </a:r>
            <a:r>
              <a:rPr lang="zh-CN" altLang="en-US" b="0" i="0" u="none" strike="noStrike" dirty="0" smtClean="0">
                <a:solidFill>
                  <a:srgbClr val="202124"/>
                </a:solidFill>
                <a:effectLst/>
                <a:latin typeface="-apple-system"/>
              </a:rPr>
              <a:t> </a:t>
            </a:r>
            <a:r>
              <a:rPr lang="en-US" altLang="zh-CN" b="0" i="0" u="none" strike="noStrike" dirty="0" smtClean="0">
                <a:solidFill>
                  <a:srgbClr val="202124"/>
                </a:solidFill>
                <a:effectLst/>
                <a:latin typeface="-apple-system"/>
              </a:rPr>
              <a:t>Ruijie</a:t>
            </a:r>
            <a:r>
              <a:rPr lang="en-US" altLang="zh-CN" sz="1200" dirty="0" smtClean="0">
                <a:solidFill>
                  <a:srgbClr val="E7E6E6">
                    <a:lumMod val="2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has built 8 R&amp;D centers,</a:t>
            </a:r>
            <a:r>
              <a:rPr lang="en-US" altLang="zh-CN" b="0" i="0" u="none" strike="noStrike" dirty="0" smtClean="0">
                <a:solidFill>
                  <a:srgbClr val="202124"/>
                </a:solidFill>
                <a:effectLst/>
                <a:latin typeface="-apple-system"/>
              </a:rPr>
              <a:t> Ruijie has embarked on its</a:t>
            </a:r>
            <a:r>
              <a:rPr lang="zh-CN" altLang="en-US" b="0" i="0" u="none" strike="noStrike" dirty="0" smtClean="0">
                <a:solidFill>
                  <a:srgbClr val="202124"/>
                </a:solidFill>
                <a:effectLst/>
                <a:latin typeface="-apple-system"/>
              </a:rPr>
              <a:t> </a:t>
            </a:r>
            <a:r>
              <a:rPr lang="en-US" altLang="zh-CN" b="0" i="0" u="none" strike="noStrike" dirty="0" smtClean="0">
                <a:solidFill>
                  <a:srgbClr val="202124"/>
                </a:solidFill>
                <a:effectLst/>
                <a:latin typeface="-apple-system"/>
              </a:rPr>
              <a:t>own</a:t>
            </a:r>
            <a:r>
              <a:rPr lang="zh-CN" altLang="en-US" b="0" i="0" u="none" strike="noStrike" dirty="0" smtClean="0">
                <a:solidFill>
                  <a:srgbClr val="202124"/>
                </a:solidFill>
                <a:effectLst/>
                <a:latin typeface="-apple-system"/>
              </a:rPr>
              <a:t> </a:t>
            </a:r>
            <a:r>
              <a:rPr lang="en-US" altLang="zh-CN" b="0" i="0" u="none" strike="noStrike" dirty="0" smtClean="0">
                <a:solidFill>
                  <a:srgbClr val="202124"/>
                </a:solidFill>
                <a:effectLst/>
                <a:latin typeface="-apple-system"/>
              </a:rPr>
              <a:t>way of independent research and development.</a:t>
            </a:r>
            <a:endParaRPr lang="en-US" altLang="zh-CN" b="0" i="0" u="none" strike="noStrike" dirty="0" smtClean="0">
              <a:solidFill>
                <a:srgbClr val="202124"/>
              </a:solidFill>
              <a:effectLst/>
              <a:latin typeface="Helvetica" pitchFamily="2" charset="0"/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44498C-04FC-4C57-9267-2C30343E44FC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582917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1"/>
          <p:cNvSpPr>
            <a:spLocks noGrp="1"/>
          </p:cNvSpPr>
          <p:nvPr>
            <p:ph type="ctrTitle" hasCustomPrompt="1"/>
          </p:nvPr>
        </p:nvSpPr>
        <p:spPr>
          <a:xfrm>
            <a:off x="394335" y="2057400"/>
            <a:ext cx="7168399" cy="825500"/>
          </a:xfrm>
          <a:prstGeom prst="rect">
            <a:avLst/>
          </a:prstGeom>
        </p:spPr>
        <p:txBody>
          <a:bodyPr anchor="ctr"/>
          <a:lstStyle>
            <a:lvl1pPr algn="l">
              <a:defRPr sz="500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lang="en-US" altLang="zh-CN" dirty="0"/>
              <a:t>Title</a:t>
            </a:r>
            <a:endParaRPr lang="zh-CN" altLang="en-US" dirty="0"/>
          </a:p>
        </p:txBody>
      </p:sp>
      <p:sp>
        <p:nvSpPr>
          <p:cNvPr id="6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394335" y="2962910"/>
            <a:ext cx="7168399" cy="65508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320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431800" indent="0" algn="ctr">
              <a:buNone/>
              <a:defRPr sz="1890"/>
            </a:lvl2pPr>
            <a:lvl3pPr marL="863600" indent="0" algn="ctr">
              <a:buNone/>
              <a:defRPr sz="1700"/>
            </a:lvl3pPr>
            <a:lvl4pPr marL="1296035" indent="0" algn="ctr">
              <a:buNone/>
              <a:defRPr sz="1510"/>
            </a:lvl4pPr>
            <a:lvl5pPr marL="1727835" indent="0" algn="ctr">
              <a:buNone/>
              <a:defRPr sz="1510"/>
            </a:lvl5pPr>
            <a:lvl6pPr marL="2159635" indent="0" algn="ctr">
              <a:buNone/>
              <a:defRPr sz="1510"/>
            </a:lvl6pPr>
            <a:lvl7pPr marL="2592705" indent="0" algn="ctr">
              <a:buNone/>
              <a:defRPr sz="1510"/>
            </a:lvl7pPr>
            <a:lvl8pPr marL="3024505" indent="0" algn="ctr">
              <a:buNone/>
              <a:defRPr sz="1510"/>
            </a:lvl8pPr>
            <a:lvl9pPr marL="3456305" indent="0" algn="ctr">
              <a:buNone/>
              <a:defRPr sz="1510"/>
            </a:lvl9pPr>
          </a:lstStyle>
          <a:p>
            <a:r>
              <a:rPr lang="en-US" altLang="zh-CN" dirty="0"/>
              <a:t>Sub title</a:t>
            </a:r>
            <a:endParaRPr lang="zh-CN" altLang="en-US" dirty="0"/>
          </a:p>
        </p:txBody>
      </p:sp>
      <p:pic>
        <p:nvPicPr>
          <p:cNvPr id="11" name="图片 10" descr="logo1-49.png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58"/>
          <a:stretch>
            <a:fillRect/>
          </a:stretch>
        </p:blipFill>
        <p:spPr>
          <a:xfrm>
            <a:off x="718890" y="392495"/>
            <a:ext cx="1393846" cy="568052"/>
          </a:xfrm>
          <a:prstGeom prst="rect">
            <a:avLst/>
          </a:prstGeom>
        </p:spPr>
      </p:pic>
      <p:pic>
        <p:nvPicPr>
          <p:cNvPr id="12" name="图片 11" descr="标语-49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42654"/>
          <a:stretch>
            <a:fillRect/>
          </a:stretch>
        </p:blipFill>
        <p:spPr>
          <a:xfrm>
            <a:off x="368301" y="5636008"/>
            <a:ext cx="1968349" cy="268376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1898" y="5663628"/>
            <a:ext cx="1438970" cy="48151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图片 14" descr="标语-49副本.png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1779"/>
          <a:stretch>
            <a:fillRect/>
          </a:stretch>
        </p:blipFill>
        <p:spPr>
          <a:xfrm>
            <a:off x="364871" y="5631307"/>
            <a:ext cx="1980000" cy="273076"/>
          </a:xfrm>
          <a:prstGeom prst="rect">
            <a:avLst/>
          </a:prstGeom>
        </p:spPr>
      </p:pic>
      <p:sp>
        <p:nvSpPr>
          <p:cNvPr id="26" name="矩形 25"/>
          <p:cNvSpPr/>
          <p:nvPr/>
        </p:nvSpPr>
        <p:spPr>
          <a:xfrm>
            <a:off x="541655" y="1422634"/>
            <a:ext cx="320675" cy="104775"/>
          </a:xfrm>
          <a:prstGeom prst="rect">
            <a:avLst/>
          </a:prstGeom>
          <a:solidFill>
            <a:srgbClr val="00DB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00DBFF"/>
              </a:solidFill>
            </a:endParaRP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7" hasCustomPrompt="1"/>
          </p:nvPr>
        </p:nvSpPr>
        <p:spPr>
          <a:xfrm>
            <a:off x="1988303" y="2301822"/>
            <a:ext cx="7061200" cy="449257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500"/>
            </a:lvl1pPr>
          </a:lstStyle>
          <a:p>
            <a:pPr lvl="0"/>
            <a:r>
              <a:rPr kumimoji="1" lang="en-US" altLang="zh-CN" dirty="0"/>
              <a:t>Section title</a:t>
            </a:r>
            <a:endParaRPr kumimoji="1" lang="zh-CN" altLang="en-US" dirty="0"/>
          </a:p>
        </p:txBody>
      </p:sp>
      <p:sp>
        <p:nvSpPr>
          <p:cNvPr id="17" name="文本占位符 4"/>
          <p:cNvSpPr>
            <a:spLocks noGrp="1"/>
          </p:cNvSpPr>
          <p:nvPr>
            <p:ph type="body" sz="quarter" idx="18" hasCustomPrompt="1"/>
          </p:nvPr>
        </p:nvSpPr>
        <p:spPr>
          <a:xfrm>
            <a:off x="1988303" y="4454123"/>
            <a:ext cx="7061200" cy="442076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500"/>
            </a:lvl1pPr>
          </a:lstStyle>
          <a:p>
            <a:pPr lvl="0"/>
            <a:r>
              <a:rPr kumimoji="1" lang="en-US" altLang="zh-CN" dirty="0"/>
              <a:t>Section title</a:t>
            </a:r>
            <a:endParaRPr kumimoji="1" lang="zh-CN" altLang="en-US" dirty="0"/>
          </a:p>
        </p:txBody>
      </p:sp>
      <p:sp>
        <p:nvSpPr>
          <p:cNvPr id="27" name="文本占位符 4"/>
          <p:cNvSpPr>
            <a:spLocks noGrp="1"/>
          </p:cNvSpPr>
          <p:nvPr>
            <p:ph type="body" sz="quarter" idx="19" hasCustomPrompt="1"/>
          </p:nvPr>
        </p:nvSpPr>
        <p:spPr>
          <a:xfrm>
            <a:off x="1988303" y="3736690"/>
            <a:ext cx="7061200" cy="44852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500"/>
            </a:lvl1pPr>
          </a:lstStyle>
          <a:p>
            <a:pPr lvl="0"/>
            <a:r>
              <a:rPr kumimoji="1" lang="en-US" altLang="zh-CN" dirty="0"/>
              <a:t>Section title</a:t>
            </a:r>
            <a:endParaRPr kumimoji="1" lang="zh-CN" altLang="en-US" dirty="0"/>
          </a:p>
        </p:txBody>
      </p:sp>
      <p:sp>
        <p:nvSpPr>
          <p:cNvPr id="28" name="文本占位符 4"/>
          <p:cNvSpPr>
            <a:spLocks noGrp="1"/>
          </p:cNvSpPr>
          <p:nvPr>
            <p:ph type="body" sz="quarter" idx="20" hasCustomPrompt="1"/>
          </p:nvPr>
        </p:nvSpPr>
        <p:spPr>
          <a:xfrm>
            <a:off x="1988303" y="3019256"/>
            <a:ext cx="7061200" cy="448889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500"/>
            </a:lvl1pPr>
          </a:lstStyle>
          <a:p>
            <a:pPr lvl="0"/>
            <a:r>
              <a:rPr kumimoji="1" lang="en-US" altLang="zh-CN" dirty="0"/>
              <a:t>Section title</a:t>
            </a:r>
            <a:endParaRPr kumimoji="1"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21" hasCustomPrompt="1"/>
          </p:nvPr>
        </p:nvSpPr>
        <p:spPr>
          <a:xfrm>
            <a:off x="1382686" y="2301410"/>
            <a:ext cx="571659" cy="449263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 lang="zh-CN" altLang="en-US" sz="2500" kern="1200" dirty="0">
                <a:solidFill>
                  <a:srgbClr val="1CDB93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3pPr marL="864235" indent="0">
              <a:buNone/>
              <a:defRPr/>
            </a:lvl3pPr>
          </a:lstStyle>
          <a:p>
            <a:pPr marL="0" lvl="0" indent="0" algn="l" defTabSz="863600" rtl="0" eaLnBrk="1" latinLnBrk="0" hangingPunct="1">
              <a:lnSpc>
                <a:spcPct val="120000"/>
              </a:lnSpc>
              <a:spcBef>
                <a:spcPts val="945"/>
              </a:spcBef>
              <a:buFont typeface="Arial" panose="020B0604020202020204" pitchFamily="34" charset="0"/>
              <a:buNone/>
            </a:pPr>
            <a:r>
              <a:rPr kumimoji="1" lang="zh-CN" altLang="en-US" dirty="0"/>
              <a:t>0</a:t>
            </a:r>
            <a:r>
              <a:rPr kumimoji="1" lang="en-US" altLang="zh-CN" dirty="0"/>
              <a:t>1</a:t>
            </a:r>
            <a:endParaRPr kumimoji="1" lang="zh-CN" altLang="en-US" dirty="0"/>
          </a:p>
        </p:txBody>
      </p:sp>
      <p:sp>
        <p:nvSpPr>
          <p:cNvPr id="29" name="文本占位符 6"/>
          <p:cNvSpPr>
            <a:spLocks noGrp="1"/>
          </p:cNvSpPr>
          <p:nvPr>
            <p:ph type="body" sz="quarter" idx="22" hasCustomPrompt="1"/>
          </p:nvPr>
        </p:nvSpPr>
        <p:spPr>
          <a:xfrm>
            <a:off x="1382686" y="4447008"/>
            <a:ext cx="571659" cy="449263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 lang="zh-CN" altLang="en-US" sz="2500" kern="1200" dirty="0">
                <a:solidFill>
                  <a:srgbClr val="1CDB93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3pPr marL="864235" indent="0">
              <a:buNone/>
              <a:defRPr/>
            </a:lvl3pPr>
          </a:lstStyle>
          <a:p>
            <a:pPr marL="0" lvl="0" indent="0" algn="l" defTabSz="863600" rtl="0" eaLnBrk="1" latinLnBrk="0" hangingPunct="1">
              <a:lnSpc>
                <a:spcPct val="120000"/>
              </a:lnSpc>
              <a:spcBef>
                <a:spcPts val="945"/>
              </a:spcBef>
              <a:buFont typeface="Arial" panose="020B0604020202020204" pitchFamily="34" charset="0"/>
              <a:buNone/>
            </a:pPr>
            <a:r>
              <a:rPr kumimoji="1" lang="zh-CN" altLang="en-US" dirty="0"/>
              <a:t>0</a:t>
            </a:r>
            <a:r>
              <a:rPr kumimoji="1" lang="en-US" altLang="zh-CN" dirty="0"/>
              <a:t>4</a:t>
            </a:r>
            <a:endParaRPr kumimoji="1" lang="zh-CN" altLang="en-US" dirty="0"/>
          </a:p>
        </p:txBody>
      </p:sp>
      <p:sp>
        <p:nvSpPr>
          <p:cNvPr id="30" name="文本占位符 6"/>
          <p:cNvSpPr>
            <a:spLocks noGrp="1"/>
          </p:cNvSpPr>
          <p:nvPr>
            <p:ph type="body" sz="quarter" idx="23" hasCustomPrompt="1"/>
          </p:nvPr>
        </p:nvSpPr>
        <p:spPr>
          <a:xfrm>
            <a:off x="1382686" y="3018955"/>
            <a:ext cx="571659" cy="449263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 lang="zh-CN" altLang="en-US" sz="2500" kern="1200" dirty="0">
                <a:solidFill>
                  <a:srgbClr val="1CDB93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3pPr marL="864235" indent="0">
              <a:buNone/>
              <a:defRPr/>
            </a:lvl3pPr>
          </a:lstStyle>
          <a:p>
            <a:pPr marL="0" lvl="0" indent="0" algn="l" defTabSz="863600" rtl="0" eaLnBrk="1" latinLnBrk="0" hangingPunct="1">
              <a:lnSpc>
                <a:spcPct val="120000"/>
              </a:lnSpc>
              <a:spcBef>
                <a:spcPts val="945"/>
              </a:spcBef>
              <a:buFont typeface="Arial" panose="020B0604020202020204" pitchFamily="34" charset="0"/>
              <a:buNone/>
            </a:pPr>
            <a:r>
              <a:rPr kumimoji="1" lang="zh-CN" altLang="en-US" dirty="0"/>
              <a:t>0</a:t>
            </a:r>
            <a:r>
              <a:rPr kumimoji="1" lang="en-US" altLang="zh-CN" dirty="0"/>
              <a:t>2</a:t>
            </a:r>
            <a:endParaRPr kumimoji="1" lang="zh-CN" altLang="en-US" dirty="0"/>
          </a:p>
        </p:txBody>
      </p:sp>
      <p:sp>
        <p:nvSpPr>
          <p:cNvPr id="31" name="文本占位符 6"/>
          <p:cNvSpPr>
            <a:spLocks noGrp="1"/>
          </p:cNvSpPr>
          <p:nvPr>
            <p:ph type="body" sz="quarter" idx="24" hasCustomPrompt="1"/>
          </p:nvPr>
        </p:nvSpPr>
        <p:spPr>
          <a:xfrm>
            <a:off x="1382686" y="3736020"/>
            <a:ext cx="571659" cy="449263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 lang="zh-CN" altLang="en-US" sz="2500" kern="1200" dirty="0">
                <a:solidFill>
                  <a:srgbClr val="1CDB93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3pPr marL="864235" indent="0">
              <a:buNone/>
              <a:defRPr/>
            </a:lvl3pPr>
          </a:lstStyle>
          <a:p>
            <a:pPr marL="0" lvl="0" indent="0" algn="l" defTabSz="863600" rtl="0" eaLnBrk="1" latinLnBrk="0" hangingPunct="1">
              <a:lnSpc>
                <a:spcPct val="120000"/>
              </a:lnSpc>
              <a:spcBef>
                <a:spcPts val="945"/>
              </a:spcBef>
              <a:buFont typeface="Arial" panose="020B0604020202020204" pitchFamily="34" charset="0"/>
              <a:buNone/>
            </a:pPr>
            <a:r>
              <a:rPr kumimoji="1" lang="zh-CN" altLang="en-US" dirty="0"/>
              <a:t>0</a:t>
            </a:r>
            <a:r>
              <a:rPr kumimoji="1" lang="en-US" altLang="zh-CN" dirty="0"/>
              <a:t>3</a:t>
            </a:r>
            <a:endParaRPr kumimoji="1" lang="zh-CN" altLang="en-US" dirty="0"/>
          </a:p>
        </p:txBody>
      </p:sp>
      <p:sp>
        <p:nvSpPr>
          <p:cNvPr id="4" name="矩形 3"/>
          <p:cNvSpPr/>
          <p:nvPr userDrawn="1"/>
        </p:nvSpPr>
        <p:spPr>
          <a:xfrm>
            <a:off x="882202" y="1151855"/>
            <a:ext cx="2376264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altLang="zh-CN" sz="3600" b="0" cap="none" spc="0" dirty="0">
                <a:ln w="0"/>
                <a:solidFill>
                  <a:srgbClr val="0055CD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ontents</a:t>
            </a:r>
            <a:endParaRPr lang="zh-CN" altLang="en-US" sz="3600" b="0" cap="none" spc="0" dirty="0">
              <a:ln w="0"/>
              <a:solidFill>
                <a:srgbClr val="0055CD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Noto Sans" panose="020B0502040504020204" pitchFamily="34" charset="0"/>
              <a:cs typeface="Noto Sans" panose="020B0502040504020204" pitchFamily="34" charset="0"/>
            </a:endParaRPr>
          </a:p>
        </p:txBody>
      </p:sp>
      <p:pic>
        <p:nvPicPr>
          <p:cNvPr id="19" name="图片 18" descr="logo中-49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83"/>
          <a:stretch>
            <a:fillRect/>
          </a:stretch>
        </p:blipFill>
        <p:spPr>
          <a:xfrm>
            <a:off x="9863905" y="5728892"/>
            <a:ext cx="1237827" cy="523636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4"/>
          <p:cNvSpPr>
            <a:spLocks noGrp="1"/>
          </p:cNvSpPr>
          <p:nvPr>
            <p:ph type="title" hasCustomPrompt="1"/>
          </p:nvPr>
        </p:nvSpPr>
        <p:spPr>
          <a:xfrm>
            <a:off x="576734" y="402155"/>
            <a:ext cx="9936000" cy="605684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rgbClr val="043CC1"/>
                </a:solidFill>
              </a:defRPr>
            </a:lvl1pPr>
          </a:lstStyle>
          <a:p>
            <a:pPr lvl="0"/>
            <a:r>
              <a:rPr kumimoji="1" lang="en-US" altLang="zh-CN" dirty="0"/>
              <a:t>Section title</a:t>
            </a:r>
            <a:endParaRPr kumimoji="1" lang="zh-CN" altLang="en-US" dirty="0"/>
          </a:p>
        </p:txBody>
      </p:sp>
      <p:pic>
        <p:nvPicPr>
          <p:cNvPr id="5" name="图片 4" descr="标语-49副本.png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1779"/>
          <a:stretch>
            <a:fillRect/>
          </a:stretch>
        </p:blipFill>
        <p:spPr>
          <a:xfrm>
            <a:off x="364871" y="5631307"/>
            <a:ext cx="1980000" cy="273076"/>
          </a:xfrm>
          <a:prstGeom prst="rect">
            <a:avLst/>
          </a:prstGeom>
        </p:spPr>
      </p:pic>
      <p:pic>
        <p:nvPicPr>
          <p:cNvPr id="7" name="图片 6" descr="logo中-49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83"/>
          <a:stretch>
            <a:fillRect/>
          </a:stretch>
        </p:blipFill>
        <p:spPr>
          <a:xfrm>
            <a:off x="9863905" y="5728892"/>
            <a:ext cx="1237827" cy="523636"/>
          </a:xfrm>
          <a:prstGeom prst="rect">
            <a:avLst/>
          </a:prstGeom>
        </p:spPr>
      </p:pic>
      <p:sp>
        <p:nvSpPr>
          <p:cNvPr id="6" name="内容占位符 2"/>
          <p:cNvSpPr>
            <a:spLocks noGrp="1"/>
          </p:cNvSpPr>
          <p:nvPr>
            <p:ph idx="1" hasCustomPrompt="1"/>
          </p:nvPr>
        </p:nvSpPr>
        <p:spPr>
          <a:xfrm>
            <a:off x="576000" y="1198828"/>
            <a:ext cx="10368000" cy="4432479"/>
          </a:xfrm>
          <a:prstGeom prst="rect">
            <a:avLst/>
          </a:prstGeom>
        </p:spPr>
        <p:txBody>
          <a:bodyPr/>
          <a:lstStyle>
            <a:lvl1pPr>
              <a:defRPr sz="2645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  <a:lvl2pPr>
              <a:defRPr sz="227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</a:defRPr>
            </a:lvl2pPr>
            <a:lvl3pPr>
              <a:defRPr sz="189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</a:defRPr>
            </a:lvl3pPr>
            <a:lvl4pPr>
              <a:defRPr sz="151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</a:defRPr>
            </a:lvl4pPr>
            <a:lvl5pPr>
              <a:defRPr sz="1325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</a:defRPr>
            </a:lvl5pPr>
          </a:lstStyle>
          <a:p>
            <a:pPr lvl="0"/>
            <a:r>
              <a:rPr lang="en-US" altLang="zh-CN" dirty="0"/>
              <a:t>Text</a:t>
            </a:r>
            <a:endParaRPr lang="zh-CN" altLang="en-US" dirty="0"/>
          </a:p>
          <a:p>
            <a:pPr lvl="1"/>
            <a:r>
              <a:rPr lang="en-US" altLang="zh-CN" dirty="0"/>
              <a:t>2nd level</a:t>
            </a:r>
            <a:endParaRPr lang="zh-CN" altLang="en-US" dirty="0"/>
          </a:p>
          <a:p>
            <a:pPr lvl="2"/>
            <a:r>
              <a:rPr lang="en-US" altLang="zh-CN" dirty="0"/>
              <a:t>3rd level</a:t>
            </a:r>
            <a:endParaRPr lang="zh-CN" altLang="en-US" dirty="0"/>
          </a:p>
          <a:p>
            <a:pPr lvl="3"/>
            <a:r>
              <a:rPr lang="en-US" altLang="zh-CN" dirty="0"/>
              <a:t>4th level</a:t>
            </a:r>
            <a:endParaRPr lang="zh-CN" altLang="en-US" dirty="0"/>
          </a:p>
          <a:p>
            <a:pPr lvl="4"/>
            <a:r>
              <a:rPr lang="en-US" altLang="zh-CN" dirty="0"/>
              <a:t>5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4"/>
          <p:cNvSpPr>
            <a:spLocks noGrp="1"/>
          </p:cNvSpPr>
          <p:nvPr>
            <p:ph type="title" hasCustomPrompt="1"/>
          </p:nvPr>
        </p:nvSpPr>
        <p:spPr>
          <a:xfrm>
            <a:off x="576734" y="402155"/>
            <a:ext cx="9936000" cy="605684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rgbClr val="043CC1"/>
                </a:solidFill>
              </a:defRPr>
            </a:lvl1pPr>
          </a:lstStyle>
          <a:p>
            <a:r>
              <a:rPr kumimoji="1" lang="en-US" altLang="zh-CN" dirty="0"/>
              <a:t>Section title</a:t>
            </a:r>
            <a:endParaRPr lang="zh-CN" altLang="en-US" dirty="0"/>
          </a:p>
        </p:txBody>
      </p:sp>
      <p:pic>
        <p:nvPicPr>
          <p:cNvPr id="5" name="图片 4" descr="标语-49副本.png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1779"/>
          <a:stretch>
            <a:fillRect/>
          </a:stretch>
        </p:blipFill>
        <p:spPr>
          <a:xfrm>
            <a:off x="364871" y="5631307"/>
            <a:ext cx="1980000" cy="273076"/>
          </a:xfrm>
          <a:prstGeom prst="rect">
            <a:avLst/>
          </a:prstGeom>
        </p:spPr>
      </p:pic>
      <p:pic>
        <p:nvPicPr>
          <p:cNvPr id="7" name="图片 6" descr="logo中-49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83"/>
          <a:stretch>
            <a:fillRect/>
          </a:stretch>
        </p:blipFill>
        <p:spPr>
          <a:xfrm>
            <a:off x="9863905" y="5728892"/>
            <a:ext cx="1237827" cy="52363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 descr="标语-49副本.png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1779"/>
          <a:stretch>
            <a:fillRect/>
          </a:stretch>
        </p:blipFill>
        <p:spPr>
          <a:xfrm>
            <a:off x="364871" y="5631307"/>
            <a:ext cx="1980000" cy="273076"/>
          </a:xfrm>
          <a:prstGeom prst="rect">
            <a:avLst/>
          </a:prstGeom>
        </p:spPr>
      </p:pic>
      <p:pic>
        <p:nvPicPr>
          <p:cNvPr id="6" name="图片 5" descr="logo中-49.png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83"/>
          <a:stretch>
            <a:fillRect/>
          </a:stretch>
        </p:blipFill>
        <p:spPr>
          <a:xfrm>
            <a:off x="9863905" y="5728892"/>
            <a:ext cx="1237827" cy="52363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空白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 descr="标语-49副本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1779"/>
          <a:stretch>
            <a:fillRect/>
          </a:stretch>
        </p:blipFill>
        <p:spPr>
          <a:xfrm>
            <a:off x="364871" y="5631307"/>
            <a:ext cx="1980000" cy="273076"/>
          </a:xfrm>
          <a:prstGeom prst="rect">
            <a:avLst/>
          </a:prstGeom>
        </p:spPr>
      </p:pic>
      <p:pic>
        <p:nvPicPr>
          <p:cNvPr id="6" name="图片 5" descr="logo中-49.png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83"/>
          <a:stretch>
            <a:fillRect/>
          </a:stretch>
        </p:blipFill>
        <p:spPr>
          <a:xfrm>
            <a:off x="9863905" y="5728892"/>
            <a:ext cx="1237827" cy="523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7134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底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logo1-49.png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58"/>
          <a:stretch>
            <a:fillRect/>
          </a:stretch>
        </p:blipFill>
        <p:spPr>
          <a:xfrm>
            <a:off x="718890" y="392495"/>
            <a:ext cx="1393846" cy="568052"/>
          </a:xfrm>
          <a:prstGeom prst="rect">
            <a:avLst/>
          </a:prstGeom>
        </p:spPr>
      </p:pic>
      <p:pic>
        <p:nvPicPr>
          <p:cNvPr id="10" name="图片 9" descr="标语-49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42654"/>
          <a:stretch>
            <a:fillRect/>
          </a:stretch>
        </p:blipFill>
        <p:spPr>
          <a:xfrm>
            <a:off x="368301" y="5636008"/>
            <a:ext cx="1968349" cy="268376"/>
          </a:xfrm>
          <a:prstGeom prst="rect">
            <a:avLst/>
          </a:prstGeom>
        </p:spPr>
      </p:pic>
      <p:sp>
        <p:nvSpPr>
          <p:cNvPr id="3" name="矩形 2"/>
          <p:cNvSpPr/>
          <p:nvPr userDrawn="1"/>
        </p:nvSpPr>
        <p:spPr>
          <a:xfrm>
            <a:off x="862906" y="2639922"/>
            <a:ext cx="4235455" cy="120032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altLang="zh-CN" sz="7200" b="0" cap="none" spc="0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THANKS!</a:t>
            </a:r>
            <a:endParaRPr lang="zh-CN" altLang="en-US" sz="7200" b="0" cap="none" spc="0" dirty="0">
              <a:ln w="0"/>
              <a:solidFill>
                <a:schemeClr val="bg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1898" y="5663628"/>
            <a:ext cx="1438970" cy="481512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think-cell 幻灯片" r:id="rId11" imgW="0" imgH="0" progId="TCLayout.ActiveDocument.1">
                  <p:embed/>
                </p:oleObj>
              </mc:Choice>
              <mc:Fallback>
                <p:oleObj name="think-cell 幻灯片" r:id="rId11" imgW="0" imgH="0" progId="TCLayout.ActiveDocument.1">
                  <p:embed/>
                  <p:pic>
                    <p:nvPicPr>
                      <p:cNvPr id="0" name="对象 4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5" r:id="rId6"/>
    <p:sldLayoutId id="2147483654" r:id="rId7"/>
  </p:sldLayoutIdLst>
  <p:hf hdr="0" ftr="0" dt="0"/>
  <p:txStyles>
    <p:titleStyle>
      <a:lvl1pPr algn="l" defTabSz="8636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rgbClr val="043CC1"/>
          </a:solidFill>
          <a:latin typeface="微软雅黑" panose="020B0503020204020204" charset="-122"/>
          <a:ea typeface="微软雅黑" panose="020B0503020204020204" charset="-122"/>
          <a:cs typeface="微软雅黑" panose="020B0503020204020204" charset="-122"/>
        </a:defRPr>
      </a:lvl1pPr>
    </p:titleStyle>
    <p:bodyStyle>
      <a:lvl1pPr marL="0" indent="0" algn="l" defTabSz="863600" rtl="0" eaLnBrk="1" latinLnBrk="0" hangingPunct="1">
        <a:lnSpc>
          <a:spcPct val="120000"/>
        </a:lnSpc>
        <a:spcBef>
          <a:spcPts val="945"/>
        </a:spcBef>
        <a:buFont typeface="Arial" panose="020B0604020202020204" pitchFamily="34" charset="0"/>
        <a:buNone/>
        <a:defRPr sz="1200" kern="1200">
          <a:solidFill>
            <a:srgbClr val="50555A"/>
          </a:solidFill>
          <a:latin typeface="微软雅黑" panose="020B0503020204020204" charset="-122"/>
          <a:ea typeface="微软雅黑" panose="020B0503020204020204" charset="-122"/>
          <a:cs typeface="微软雅黑" panose="020B0503020204020204" charset="-122"/>
        </a:defRPr>
      </a:lvl1pPr>
      <a:lvl2pPr marL="431800" indent="0" algn="l" defTabSz="863600" rtl="0" eaLnBrk="1" latinLnBrk="0" hangingPunct="1">
        <a:lnSpc>
          <a:spcPct val="90000"/>
        </a:lnSpc>
        <a:spcBef>
          <a:spcPct val="95000"/>
        </a:spcBef>
        <a:buFont typeface="Arial" panose="020B0604020202020204" pitchFamily="34" charset="0"/>
        <a:buNone/>
        <a:defRPr sz="2265" kern="1200">
          <a:solidFill>
            <a:schemeClr val="tx1"/>
          </a:solidFill>
          <a:latin typeface="+mn-lt"/>
          <a:ea typeface="+mn-ea"/>
          <a:cs typeface="+mn-cs"/>
        </a:defRPr>
      </a:lvl2pPr>
      <a:lvl3pPr marL="1080135" indent="-215900" algn="l" defTabSz="863600" rtl="0" eaLnBrk="1" latinLnBrk="0" hangingPunct="1">
        <a:lnSpc>
          <a:spcPct val="90000"/>
        </a:lnSpc>
        <a:spcBef>
          <a:spcPct val="95000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3pPr>
      <a:lvl4pPr marL="1511935" indent="-215900" algn="l" defTabSz="863600" rtl="0" eaLnBrk="1" latinLnBrk="0" hangingPunct="1">
        <a:lnSpc>
          <a:spcPct val="90000"/>
        </a:lnSpc>
        <a:spcBef>
          <a:spcPct val="95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943735" indent="-215900" algn="l" defTabSz="863600" rtl="0" eaLnBrk="1" latinLnBrk="0" hangingPunct="1">
        <a:lnSpc>
          <a:spcPct val="90000"/>
        </a:lnSpc>
        <a:spcBef>
          <a:spcPct val="95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376805" indent="-215900" algn="l" defTabSz="863600" rtl="0" eaLnBrk="1" latinLnBrk="0" hangingPunct="1">
        <a:lnSpc>
          <a:spcPct val="90000"/>
        </a:lnSpc>
        <a:spcBef>
          <a:spcPct val="95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808605" indent="-215900" algn="l" defTabSz="863600" rtl="0" eaLnBrk="1" latinLnBrk="0" hangingPunct="1">
        <a:lnSpc>
          <a:spcPct val="90000"/>
        </a:lnSpc>
        <a:spcBef>
          <a:spcPct val="95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240405" indent="-215900" algn="l" defTabSz="863600" rtl="0" eaLnBrk="1" latinLnBrk="0" hangingPunct="1">
        <a:lnSpc>
          <a:spcPct val="90000"/>
        </a:lnSpc>
        <a:spcBef>
          <a:spcPct val="95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672205" indent="-215900" algn="l" defTabSz="863600" rtl="0" eaLnBrk="1" latinLnBrk="0" hangingPunct="1">
        <a:lnSpc>
          <a:spcPct val="90000"/>
        </a:lnSpc>
        <a:spcBef>
          <a:spcPct val="95000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6360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31800" algn="l" defTabSz="86360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63600" algn="l" defTabSz="86360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96035" algn="l" defTabSz="86360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27835" algn="l" defTabSz="86360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59635" algn="l" defTabSz="86360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92705" algn="l" defTabSz="86360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24505" algn="l" defTabSz="86360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56305" algn="l" defTabSz="86360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9.png"/><Relationship Id="rId5" Type="http://schemas.openxmlformats.org/officeDocument/2006/relationships/image" Target="../media/image38.jpeg"/><Relationship Id="rId4" Type="http://schemas.openxmlformats.org/officeDocument/2006/relationships/image" Target="../media/image37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7" Type="http://schemas.openxmlformats.org/officeDocument/2006/relationships/image" Target="../media/image45.jpeg"/><Relationship Id="rId2" Type="http://schemas.openxmlformats.org/officeDocument/2006/relationships/hyperlink" Target="https://www.ruijienetworks.com/rita" TargetMode="Externa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4.jpeg"/><Relationship Id="rId5" Type="http://schemas.openxmlformats.org/officeDocument/2006/relationships/image" Target="../media/image43.jpeg"/><Relationship Id="rId4" Type="http://schemas.openxmlformats.org/officeDocument/2006/relationships/image" Target="../media/image4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hyperlink" Target="https://www.ruijienetworks.com/rita" TargetMode="Externa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13" Type="http://schemas.openxmlformats.org/officeDocument/2006/relationships/image" Target="../media/image57.jpeg"/><Relationship Id="rId3" Type="http://schemas.openxmlformats.org/officeDocument/2006/relationships/hyperlink" Target="https://www.ruijienetworks.com/rita" TargetMode="External"/><Relationship Id="rId7" Type="http://schemas.openxmlformats.org/officeDocument/2006/relationships/image" Target="../media/image51.png"/><Relationship Id="rId12" Type="http://schemas.openxmlformats.org/officeDocument/2006/relationships/image" Target="../media/image56.jpe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0.jpeg"/><Relationship Id="rId11" Type="http://schemas.openxmlformats.org/officeDocument/2006/relationships/image" Target="../media/image55.jpeg"/><Relationship Id="rId5" Type="http://schemas.openxmlformats.org/officeDocument/2006/relationships/image" Target="../media/image49.jpeg"/><Relationship Id="rId10" Type="http://schemas.openxmlformats.org/officeDocument/2006/relationships/image" Target="../media/image54.png"/><Relationship Id="rId4" Type="http://schemas.openxmlformats.org/officeDocument/2006/relationships/image" Target="../media/image48.png"/><Relationship Id="rId9" Type="http://schemas.openxmlformats.org/officeDocument/2006/relationships/image" Target="../media/image53.jpeg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26" Type="http://schemas.openxmlformats.org/officeDocument/2006/relationships/tags" Target="../tags/tag36.xml"/><Relationship Id="rId39" Type="http://schemas.openxmlformats.org/officeDocument/2006/relationships/image" Target="../media/image58.png"/><Relationship Id="rId21" Type="http://schemas.openxmlformats.org/officeDocument/2006/relationships/tags" Target="../tags/tag31.xml"/><Relationship Id="rId34" Type="http://schemas.openxmlformats.org/officeDocument/2006/relationships/tags" Target="../tags/tag44.xml"/><Relationship Id="rId42" Type="http://schemas.openxmlformats.org/officeDocument/2006/relationships/image" Target="../media/image51.png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6" Type="http://schemas.openxmlformats.org/officeDocument/2006/relationships/tags" Target="../tags/tag26.xml"/><Relationship Id="rId29" Type="http://schemas.openxmlformats.org/officeDocument/2006/relationships/tags" Target="../tags/tag39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24" Type="http://schemas.openxmlformats.org/officeDocument/2006/relationships/tags" Target="../tags/tag34.xml"/><Relationship Id="rId32" Type="http://schemas.openxmlformats.org/officeDocument/2006/relationships/tags" Target="../tags/tag42.xml"/><Relationship Id="rId37" Type="http://schemas.openxmlformats.org/officeDocument/2006/relationships/slideLayout" Target="../slideLayouts/slideLayout4.xml"/><Relationship Id="rId40" Type="http://schemas.openxmlformats.org/officeDocument/2006/relationships/image" Target="../media/image59.jpeg"/><Relationship Id="rId45" Type="http://schemas.openxmlformats.org/officeDocument/2006/relationships/image" Target="../media/image61.png"/><Relationship Id="rId5" Type="http://schemas.openxmlformats.org/officeDocument/2006/relationships/tags" Target="../tags/tag15.xml"/><Relationship Id="rId15" Type="http://schemas.openxmlformats.org/officeDocument/2006/relationships/tags" Target="../tags/tag25.xml"/><Relationship Id="rId23" Type="http://schemas.openxmlformats.org/officeDocument/2006/relationships/tags" Target="../tags/tag33.xml"/><Relationship Id="rId28" Type="http://schemas.openxmlformats.org/officeDocument/2006/relationships/tags" Target="../tags/tag38.xml"/><Relationship Id="rId36" Type="http://schemas.openxmlformats.org/officeDocument/2006/relationships/tags" Target="../tags/tag46.xml"/><Relationship Id="rId10" Type="http://schemas.openxmlformats.org/officeDocument/2006/relationships/tags" Target="../tags/tag20.xml"/><Relationship Id="rId19" Type="http://schemas.openxmlformats.org/officeDocument/2006/relationships/tags" Target="../tags/tag29.xml"/><Relationship Id="rId31" Type="http://schemas.openxmlformats.org/officeDocument/2006/relationships/tags" Target="../tags/tag41.xml"/><Relationship Id="rId44" Type="http://schemas.openxmlformats.org/officeDocument/2006/relationships/image" Target="../media/image55.jpeg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tags" Target="../tags/tag24.xml"/><Relationship Id="rId22" Type="http://schemas.openxmlformats.org/officeDocument/2006/relationships/tags" Target="../tags/tag32.xml"/><Relationship Id="rId27" Type="http://schemas.openxmlformats.org/officeDocument/2006/relationships/tags" Target="../tags/tag37.xml"/><Relationship Id="rId30" Type="http://schemas.openxmlformats.org/officeDocument/2006/relationships/tags" Target="../tags/tag40.xml"/><Relationship Id="rId35" Type="http://schemas.openxmlformats.org/officeDocument/2006/relationships/tags" Target="../tags/tag45.xml"/><Relationship Id="rId43" Type="http://schemas.openxmlformats.org/officeDocument/2006/relationships/image" Target="../media/image60.png"/><Relationship Id="rId8" Type="http://schemas.openxmlformats.org/officeDocument/2006/relationships/tags" Target="../tags/tag18.xml"/><Relationship Id="rId3" Type="http://schemas.openxmlformats.org/officeDocument/2006/relationships/tags" Target="../tags/tag13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25" Type="http://schemas.openxmlformats.org/officeDocument/2006/relationships/tags" Target="../tags/tag35.xml"/><Relationship Id="rId33" Type="http://schemas.openxmlformats.org/officeDocument/2006/relationships/tags" Target="../tags/tag43.xml"/><Relationship Id="rId38" Type="http://schemas.openxmlformats.org/officeDocument/2006/relationships/image" Target="../media/image20.png"/><Relationship Id="rId46" Type="http://schemas.openxmlformats.org/officeDocument/2006/relationships/image" Target="../media/image62.png"/><Relationship Id="rId20" Type="http://schemas.openxmlformats.org/officeDocument/2006/relationships/tags" Target="../tags/tag30.xml"/><Relationship Id="rId41" Type="http://schemas.openxmlformats.org/officeDocument/2006/relationships/image" Target="../media/image50.jpeg"/><Relationship Id="rId54" Type="http://schemas.openxmlformats.org/officeDocument/2006/relationships/image" Target="../media/image33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uijienetworks.com/support/hotline" TargetMode="External"/><Relationship Id="rId2" Type="http://schemas.openxmlformats.org/officeDocument/2006/relationships/hyperlink" Target="https://www.ruijienetworks.com/rita" TargetMode="Externa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jpeg"/><Relationship Id="rId3" Type="http://schemas.openxmlformats.org/officeDocument/2006/relationships/hyperlink" Target="https://community.ruijienetworks.com/" TargetMode="External"/><Relationship Id="rId7" Type="http://schemas.openxmlformats.org/officeDocument/2006/relationships/image" Target="../media/image66.jpeg"/><Relationship Id="rId2" Type="http://schemas.openxmlformats.org/officeDocument/2006/relationships/hyperlink" Target="https://www.ruijienetworks.com/rita" TargetMode="Externa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5.png"/><Relationship Id="rId11" Type="http://schemas.openxmlformats.org/officeDocument/2006/relationships/image" Target="../media/image70.GIF"/><Relationship Id="rId5" Type="http://schemas.openxmlformats.org/officeDocument/2006/relationships/image" Target="../media/image64.png"/><Relationship Id="rId10" Type="http://schemas.openxmlformats.org/officeDocument/2006/relationships/image" Target="../media/image69.jpeg"/><Relationship Id="rId4" Type="http://schemas.openxmlformats.org/officeDocument/2006/relationships/image" Target="../media/image63.png"/><Relationship Id="rId9" Type="http://schemas.openxmlformats.org/officeDocument/2006/relationships/image" Target="../media/image6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7.xml"/><Relationship Id="rId6" Type="http://schemas.openxmlformats.org/officeDocument/2006/relationships/image" Target="../media/image78.png"/><Relationship Id="rId5" Type="http://schemas.openxmlformats.org/officeDocument/2006/relationships/image" Target="../media/image77.png"/><Relationship Id="rId4" Type="http://schemas.openxmlformats.org/officeDocument/2006/relationships/image" Target="../media/image7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c/RuijieTechnicalSupport" TargetMode="External"/><Relationship Id="rId7" Type="http://schemas.openxmlformats.org/officeDocument/2006/relationships/image" Target="../media/image83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2.jpeg"/><Relationship Id="rId5" Type="http://schemas.openxmlformats.org/officeDocument/2006/relationships/image" Target="../media/image81.jpeg"/><Relationship Id="rId4" Type="http://schemas.openxmlformats.org/officeDocument/2006/relationships/image" Target="../media/image80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uijienetworks.com/partner/locator" TargetMode="External"/><Relationship Id="rId2" Type="http://schemas.openxmlformats.org/officeDocument/2006/relationships/hyperlink" Target="https://www.ruijienetworks.com/rita" TargetMode="Externa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84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13" Type="http://schemas.openxmlformats.org/officeDocument/2006/relationships/tags" Target="../tags/tag60.xml"/><Relationship Id="rId18" Type="http://schemas.openxmlformats.org/officeDocument/2006/relationships/tags" Target="../tags/tag65.xml"/><Relationship Id="rId26" Type="http://schemas.openxmlformats.org/officeDocument/2006/relationships/tags" Target="../tags/tag73.xml"/><Relationship Id="rId39" Type="http://schemas.openxmlformats.org/officeDocument/2006/relationships/tags" Target="../tags/tag86.xml"/><Relationship Id="rId21" Type="http://schemas.openxmlformats.org/officeDocument/2006/relationships/tags" Target="../tags/tag68.xml"/><Relationship Id="rId34" Type="http://schemas.openxmlformats.org/officeDocument/2006/relationships/tags" Target="../tags/tag81.xml"/><Relationship Id="rId42" Type="http://schemas.openxmlformats.org/officeDocument/2006/relationships/tags" Target="../tags/tag89.xml"/><Relationship Id="rId47" Type="http://schemas.openxmlformats.org/officeDocument/2006/relationships/tags" Target="../tags/tag94.xml"/><Relationship Id="rId7" Type="http://schemas.openxmlformats.org/officeDocument/2006/relationships/tags" Target="../tags/tag54.xml"/><Relationship Id="rId2" Type="http://schemas.openxmlformats.org/officeDocument/2006/relationships/tags" Target="../tags/tag49.xml"/><Relationship Id="rId16" Type="http://schemas.openxmlformats.org/officeDocument/2006/relationships/tags" Target="../tags/tag63.xml"/><Relationship Id="rId29" Type="http://schemas.openxmlformats.org/officeDocument/2006/relationships/tags" Target="../tags/tag76.xml"/><Relationship Id="rId11" Type="http://schemas.openxmlformats.org/officeDocument/2006/relationships/tags" Target="../tags/tag58.xml"/><Relationship Id="rId24" Type="http://schemas.openxmlformats.org/officeDocument/2006/relationships/tags" Target="../tags/tag71.xml"/><Relationship Id="rId32" Type="http://schemas.openxmlformats.org/officeDocument/2006/relationships/tags" Target="../tags/tag79.xml"/><Relationship Id="rId37" Type="http://schemas.openxmlformats.org/officeDocument/2006/relationships/tags" Target="../tags/tag84.xml"/><Relationship Id="rId40" Type="http://schemas.openxmlformats.org/officeDocument/2006/relationships/tags" Target="../tags/tag87.xml"/><Relationship Id="rId45" Type="http://schemas.openxmlformats.org/officeDocument/2006/relationships/tags" Target="../tags/tag92.xml"/><Relationship Id="rId5" Type="http://schemas.openxmlformats.org/officeDocument/2006/relationships/tags" Target="../tags/tag52.xml"/><Relationship Id="rId15" Type="http://schemas.openxmlformats.org/officeDocument/2006/relationships/tags" Target="../tags/tag62.xml"/><Relationship Id="rId23" Type="http://schemas.openxmlformats.org/officeDocument/2006/relationships/tags" Target="../tags/tag70.xml"/><Relationship Id="rId28" Type="http://schemas.openxmlformats.org/officeDocument/2006/relationships/tags" Target="../tags/tag75.xml"/><Relationship Id="rId36" Type="http://schemas.openxmlformats.org/officeDocument/2006/relationships/tags" Target="../tags/tag83.xml"/><Relationship Id="rId49" Type="http://schemas.openxmlformats.org/officeDocument/2006/relationships/slideLayout" Target="../slideLayouts/slideLayout4.xml"/><Relationship Id="rId10" Type="http://schemas.openxmlformats.org/officeDocument/2006/relationships/tags" Target="../tags/tag57.xml"/><Relationship Id="rId19" Type="http://schemas.openxmlformats.org/officeDocument/2006/relationships/tags" Target="../tags/tag66.xml"/><Relationship Id="rId31" Type="http://schemas.openxmlformats.org/officeDocument/2006/relationships/tags" Target="../tags/tag78.xml"/><Relationship Id="rId44" Type="http://schemas.openxmlformats.org/officeDocument/2006/relationships/tags" Target="../tags/tag91.xml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4" Type="http://schemas.openxmlformats.org/officeDocument/2006/relationships/tags" Target="../tags/tag61.xml"/><Relationship Id="rId22" Type="http://schemas.openxmlformats.org/officeDocument/2006/relationships/tags" Target="../tags/tag69.xml"/><Relationship Id="rId27" Type="http://schemas.openxmlformats.org/officeDocument/2006/relationships/tags" Target="../tags/tag74.xml"/><Relationship Id="rId30" Type="http://schemas.openxmlformats.org/officeDocument/2006/relationships/tags" Target="../tags/tag77.xml"/><Relationship Id="rId35" Type="http://schemas.openxmlformats.org/officeDocument/2006/relationships/tags" Target="../tags/tag82.xml"/><Relationship Id="rId43" Type="http://schemas.openxmlformats.org/officeDocument/2006/relationships/tags" Target="../tags/tag90.xml"/><Relationship Id="rId48" Type="http://schemas.openxmlformats.org/officeDocument/2006/relationships/tags" Target="../tags/tag95.xml"/><Relationship Id="rId8" Type="http://schemas.openxmlformats.org/officeDocument/2006/relationships/tags" Target="../tags/tag55.xml"/><Relationship Id="rId3" Type="http://schemas.openxmlformats.org/officeDocument/2006/relationships/tags" Target="../tags/tag50.xml"/><Relationship Id="rId12" Type="http://schemas.openxmlformats.org/officeDocument/2006/relationships/tags" Target="../tags/tag59.xml"/><Relationship Id="rId17" Type="http://schemas.openxmlformats.org/officeDocument/2006/relationships/tags" Target="../tags/tag64.xml"/><Relationship Id="rId25" Type="http://schemas.openxmlformats.org/officeDocument/2006/relationships/tags" Target="../tags/tag72.xml"/><Relationship Id="rId33" Type="http://schemas.openxmlformats.org/officeDocument/2006/relationships/tags" Target="../tags/tag80.xml"/><Relationship Id="rId38" Type="http://schemas.openxmlformats.org/officeDocument/2006/relationships/tags" Target="../tags/tag85.xml"/><Relationship Id="rId46" Type="http://schemas.openxmlformats.org/officeDocument/2006/relationships/tags" Target="../tags/tag93.xml"/><Relationship Id="rId20" Type="http://schemas.openxmlformats.org/officeDocument/2006/relationships/tags" Target="../tags/tag67.xml"/><Relationship Id="rId41" Type="http://schemas.openxmlformats.org/officeDocument/2006/relationships/tags" Target="../tags/tag88.xml"/><Relationship Id="rId1" Type="http://schemas.openxmlformats.org/officeDocument/2006/relationships/tags" Target="../tags/tag48.xml"/><Relationship Id="rId6" Type="http://schemas.openxmlformats.org/officeDocument/2006/relationships/tags" Target="../tags/tag5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elearning.ruijienetworks.com/" TargetMode="External"/><Relationship Id="rId2" Type="http://schemas.openxmlformats.org/officeDocument/2006/relationships/hyperlink" Target="https://www.ruijienetworks.com/rita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8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png"/><Relationship Id="rId3" Type="http://schemas.openxmlformats.org/officeDocument/2006/relationships/tags" Target="../tags/tag98.xml"/><Relationship Id="rId7" Type="http://schemas.openxmlformats.org/officeDocument/2006/relationships/hyperlink" Target="https://www.ruijienetworks.com/support/training" TargetMode="External"/><Relationship Id="rId12" Type="http://schemas.openxmlformats.org/officeDocument/2006/relationships/image" Target="../media/image93.png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hyperlink" Target="https://www.ruijienetworks.com/rita" TargetMode="External"/><Relationship Id="rId11" Type="http://schemas.openxmlformats.org/officeDocument/2006/relationships/image" Target="../media/image92.png"/><Relationship Id="rId5" Type="http://schemas.openxmlformats.org/officeDocument/2006/relationships/slideLayout" Target="../slideLayouts/slideLayout4.xml"/><Relationship Id="rId10" Type="http://schemas.openxmlformats.org/officeDocument/2006/relationships/image" Target="../media/image91.png"/><Relationship Id="rId4" Type="http://schemas.openxmlformats.org/officeDocument/2006/relationships/tags" Target="../tags/tag99.xml"/><Relationship Id="rId9" Type="http://schemas.openxmlformats.org/officeDocument/2006/relationships/image" Target="../media/image90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ruijienetworks.com/support/servicepolicy" TargetMode="Externa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4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8.png"/><Relationship Id="rId5" Type="http://schemas.openxmlformats.org/officeDocument/2006/relationships/image" Target="../media/image97.png"/><Relationship Id="rId4" Type="http://schemas.openxmlformats.org/officeDocument/2006/relationships/image" Target="../media/image96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.png"/><Relationship Id="rId3" Type="http://schemas.openxmlformats.org/officeDocument/2006/relationships/image" Target="../media/image100.png"/><Relationship Id="rId7" Type="http://schemas.openxmlformats.org/officeDocument/2006/relationships/image" Target="../media/image104.pn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03.png"/><Relationship Id="rId5" Type="http://schemas.openxmlformats.org/officeDocument/2006/relationships/image" Target="../media/image102.png"/><Relationship Id="rId4" Type="http://schemas.openxmlformats.org/officeDocument/2006/relationships/image" Target="../media/image101.png"/><Relationship Id="rId9" Type="http://schemas.openxmlformats.org/officeDocument/2006/relationships/image" Target="../media/image106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1.png"/><Relationship Id="rId5" Type="http://schemas.openxmlformats.org/officeDocument/2006/relationships/image" Target="../media/image110.png"/><Relationship Id="rId4" Type="http://schemas.openxmlformats.org/officeDocument/2006/relationships/image" Target="../media/image109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image" Target="../media/image112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4.jpeg"/></Relationships>
</file>

<file path=ppt/slides/_rels/slide37.xml.rels><?xml version="1.0" encoding="UTF-8" standalone="yes"?>
<Relationships xmlns="http://schemas.openxmlformats.org/package/2006/relationships"><Relationship Id="rId13" Type="http://schemas.openxmlformats.org/officeDocument/2006/relationships/tags" Target="../tags/tag115.xml"/><Relationship Id="rId18" Type="http://schemas.openxmlformats.org/officeDocument/2006/relationships/tags" Target="../tags/tag120.xml"/><Relationship Id="rId26" Type="http://schemas.openxmlformats.org/officeDocument/2006/relationships/tags" Target="../tags/tag128.xml"/><Relationship Id="rId39" Type="http://schemas.openxmlformats.org/officeDocument/2006/relationships/image" Target="../media/image117.jpeg"/><Relationship Id="rId21" Type="http://schemas.openxmlformats.org/officeDocument/2006/relationships/tags" Target="../tags/tag123.xml"/><Relationship Id="rId34" Type="http://schemas.openxmlformats.org/officeDocument/2006/relationships/tags" Target="../tags/tag136.xml"/><Relationship Id="rId42" Type="http://schemas.openxmlformats.org/officeDocument/2006/relationships/image" Target="../media/image120.jpeg"/><Relationship Id="rId7" Type="http://schemas.openxmlformats.org/officeDocument/2006/relationships/tags" Target="../tags/tag109.xml"/><Relationship Id="rId2" Type="http://schemas.openxmlformats.org/officeDocument/2006/relationships/tags" Target="../tags/tag104.xml"/><Relationship Id="rId16" Type="http://schemas.openxmlformats.org/officeDocument/2006/relationships/tags" Target="../tags/tag118.xml"/><Relationship Id="rId20" Type="http://schemas.openxmlformats.org/officeDocument/2006/relationships/tags" Target="../tags/tag122.xml"/><Relationship Id="rId29" Type="http://schemas.openxmlformats.org/officeDocument/2006/relationships/tags" Target="../tags/tag131.xml"/><Relationship Id="rId41" Type="http://schemas.openxmlformats.org/officeDocument/2006/relationships/image" Target="../media/image119.jpeg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11" Type="http://schemas.openxmlformats.org/officeDocument/2006/relationships/tags" Target="../tags/tag113.xml"/><Relationship Id="rId24" Type="http://schemas.openxmlformats.org/officeDocument/2006/relationships/tags" Target="../tags/tag126.xml"/><Relationship Id="rId32" Type="http://schemas.openxmlformats.org/officeDocument/2006/relationships/tags" Target="../tags/tag134.xml"/><Relationship Id="rId37" Type="http://schemas.openxmlformats.org/officeDocument/2006/relationships/image" Target="../media/image115.jpeg"/><Relationship Id="rId40" Type="http://schemas.openxmlformats.org/officeDocument/2006/relationships/image" Target="../media/image118.jpeg"/><Relationship Id="rId5" Type="http://schemas.openxmlformats.org/officeDocument/2006/relationships/tags" Target="../tags/tag107.xml"/><Relationship Id="rId15" Type="http://schemas.openxmlformats.org/officeDocument/2006/relationships/tags" Target="../tags/tag117.xml"/><Relationship Id="rId23" Type="http://schemas.openxmlformats.org/officeDocument/2006/relationships/tags" Target="../tags/tag125.xml"/><Relationship Id="rId28" Type="http://schemas.openxmlformats.org/officeDocument/2006/relationships/tags" Target="../tags/tag130.xml"/><Relationship Id="rId36" Type="http://schemas.openxmlformats.org/officeDocument/2006/relationships/slideLayout" Target="../slideLayouts/slideLayout4.xml"/><Relationship Id="rId10" Type="http://schemas.openxmlformats.org/officeDocument/2006/relationships/tags" Target="../tags/tag112.xml"/><Relationship Id="rId19" Type="http://schemas.openxmlformats.org/officeDocument/2006/relationships/tags" Target="../tags/tag121.xml"/><Relationship Id="rId31" Type="http://schemas.openxmlformats.org/officeDocument/2006/relationships/tags" Target="../tags/tag133.xml"/><Relationship Id="rId44" Type="http://schemas.openxmlformats.org/officeDocument/2006/relationships/image" Target="../media/image122.jpeg"/><Relationship Id="rId4" Type="http://schemas.openxmlformats.org/officeDocument/2006/relationships/tags" Target="../tags/tag106.xml"/><Relationship Id="rId9" Type="http://schemas.openxmlformats.org/officeDocument/2006/relationships/tags" Target="../tags/tag111.xml"/><Relationship Id="rId14" Type="http://schemas.openxmlformats.org/officeDocument/2006/relationships/tags" Target="../tags/tag116.xml"/><Relationship Id="rId22" Type="http://schemas.openxmlformats.org/officeDocument/2006/relationships/tags" Target="../tags/tag124.xml"/><Relationship Id="rId27" Type="http://schemas.openxmlformats.org/officeDocument/2006/relationships/tags" Target="../tags/tag129.xml"/><Relationship Id="rId30" Type="http://schemas.openxmlformats.org/officeDocument/2006/relationships/tags" Target="../tags/tag132.xml"/><Relationship Id="rId35" Type="http://schemas.openxmlformats.org/officeDocument/2006/relationships/tags" Target="../tags/tag137.xml"/><Relationship Id="rId43" Type="http://schemas.openxmlformats.org/officeDocument/2006/relationships/image" Target="../media/image121.jpeg"/><Relationship Id="rId8" Type="http://schemas.openxmlformats.org/officeDocument/2006/relationships/tags" Target="../tags/tag110.xml"/><Relationship Id="rId3" Type="http://schemas.openxmlformats.org/officeDocument/2006/relationships/tags" Target="../tags/tag105.xml"/><Relationship Id="rId12" Type="http://schemas.openxmlformats.org/officeDocument/2006/relationships/tags" Target="../tags/tag114.xml"/><Relationship Id="rId17" Type="http://schemas.openxmlformats.org/officeDocument/2006/relationships/tags" Target="../tags/tag119.xml"/><Relationship Id="rId25" Type="http://schemas.openxmlformats.org/officeDocument/2006/relationships/tags" Target="../tags/tag127.xml"/><Relationship Id="rId33" Type="http://schemas.openxmlformats.org/officeDocument/2006/relationships/tags" Target="../tags/tag135.xml"/><Relationship Id="rId38" Type="http://schemas.openxmlformats.org/officeDocument/2006/relationships/image" Target="../media/image116.jpe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tags" Target="../tags/tag145.xml"/><Relationship Id="rId13" Type="http://schemas.openxmlformats.org/officeDocument/2006/relationships/slideLayout" Target="../slideLayouts/slideLayout4.xml"/><Relationship Id="rId3" Type="http://schemas.openxmlformats.org/officeDocument/2006/relationships/tags" Target="../tags/tag140.xml"/><Relationship Id="rId7" Type="http://schemas.openxmlformats.org/officeDocument/2006/relationships/tags" Target="../tags/tag144.xml"/><Relationship Id="rId12" Type="http://schemas.openxmlformats.org/officeDocument/2006/relationships/tags" Target="../tags/tag149.xml"/><Relationship Id="rId2" Type="http://schemas.openxmlformats.org/officeDocument/2006/relationships/tags" Target="../tags/tag139.xml"/><Relationship Id="rId16" Type="http://schemas.openxmlformats.org/officeDocument/2006/relationships/image" Target="../media/image116.jpeg"/><Relationship Id="rId1" Type="http://schemas.openxmlformats.org/officeDocument/2006/relationships/tags" Target="../tags/tag138.xml"/><Relationship Id="rId6" Type="http://schemas.openxmlformats.org/officeDocument/2006/relationships/tags" Target="../tags/tag143.xml"/><Relationship Id="rId11" Type="http://schemas.openxmlformats.org/officeDocument/2006/relationships/tags" Target="../tags/tag148.xml"/><Relationship Id="rId5" Type="http://schemas.openxmlformats.org/officeDocument/2006/relationships/tags" Target="../tags/tag142.xml"/><Relationship Id="rId15" Type="http://schemas.openxmlformats.org/officeDocument/2006/relationships/image" Target="../media/image124.jpeg"/><Relationship Id="rId10" Type="http://schemas.openxmlformats.org/officeDocument/2006/relationships/tags" Target="../tags/tag147.xml"/><Relationship Id="rId4" Type="http://schemas.openxmlformats.org/officeDocument/2006/relationships/tags" Target="../tags/tag141.xml"/><Relationship Id="rId9" Type="http://schemas.openxmlformats.org/officeDocument/2006/relationships/tags" Target="../tags/tag146.xml"/><Relationship Id="rId14" Type="http://schemas.openxmlformats.org/officeDocument/2006/relationships/image" Target="../media/image123.jpe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tags" Target="../tags/tag157.xml"/><Relationship Id="rId13" Type="http://schemas.openxmlformats.org/officeDocument/2006/relationships/image" Target="../media/image116.jpeg"/><Relationship Id="rId3" Type="http://schemas.openxmlformats.org/officeDocument/2006/relationships/tags" Target="../tags/tag152.xml"/><Relationship Id="rId7" Type="http://schemas.openxmlformats.org/officeDocument/2006/relationships/tags" Target="../tags/tag156.xml"/><Relationship Id="rId12" Type="http://schemas.openxmlformats.org/officeDocument/2006/relationships/image" Target="../media/image127.jpeg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tags" Target="../tags/tag155.xml"/><Relationship Id="rId11" Type="http://schemas.openxmlformats.org/officeDocument/2006/relationships/image" Target="../media/image126.jpeg"/><Relationship Id="rId5" Type="http://schemas.openxmlformats.org/officeDocument/2006/relationships/tags" Target="../tags/tag154.xml"/><Relationship Id="rId10" Type="http://schemas.openxmlformats.org/officeDocument/2006/relationships/image" Target="../media/image125.jpeg"/><Relationship Id="rId4" Type="http://schemas.openxmlformats.org/officeDocument/2006/relationships/tags" Target="../tags/tag153.xml"/><Relationship Id="rId9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Relationship Id="rId6" Type="http://schemas.openxmlformats.org/officeDocument/2006/relationships/image" Target="../media/image11.png"/><Relationship Id="rId11" Type="http://schemas.openxmlformats.org/officeDocument/2006/relationships/image" Target="../media/image15.png"/><Relationship Id="rId5" Type="http://schemas.openxmlformats.org/officeDocument/2006/relationships/image" Target="../media/image10.png"/><Relationship Id="rId10" Type="http://schemas.openxmlformats.org/officeDocument/2006/relationships/image" Target="../media/image14.png"/><Relationship Id="rId4" Type="http://schemas.openxmlformats.org/officeDocument/2006/relationships/image" Target="../media/image9.png"/><Relationship Id="rId9" Type="http://schemas.openxmlformats.org/officeDocument/2006/relationships/image" Target="../media/image14.sv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4" Type="http://schemas.openxmlformats.org/officeDocument/2006/relationships/image" Target="../media/image128.pn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.xml"/><Relationship Id="rId13" Type="http://schemas.openxmlformats.org/officeDocument/2006/relationships/image" Target="../media/image19.png"/><Relationship Id="rId18" Type="http://schemas.openxmlformats.org/officeDocument/2006/relationships/image" Target="../media/image24.jpeg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image" Target="../media/image18.jpeg"/><Relationship Id="rId17" Type="http://schemas.openxmlformats.org/officeDocument/2006/relationships/image" Target="../media/image23.png"/><Relationship Id="rId2" Type="http://schemas.openxmlformats.org/officeDocument/2006/relationships/tags" Target="../tags/tag5.xml"/><Relationship Id="rId16" Type="http://schemas.openxmlformats.org/officeDocument/2006/relationships/image" Target="../media/image22.png"/><Relationship Id="rId20" Type="http://schemas.openxmlformats.org/officeDocument/2006/relationships/image" Target="../media/image26.png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image" Target="../media/image17.png"/><Relationship Id="rId5" Type="http://schemas.openxmlformats.org/officeDocument/2006/relationships/tags" Target="../tags/tag8.xml"/><Relationship Id="rId15" Type="http://schemas.openxmlformats.org/officeDocument/2006/relationships/image" Target="../media/image21.png"/><Relationship Id="rId10" Type="http://schemas.microsoft.com/office/2007/relationships/hdphoto" Target="../media/hdphoto1.wdp"/><Relationship Id="rId19" Type="http://schemas.openxmlformats.org/officeDocument/2006/relationships/image" Target="../media/image25.jpeg"/><Relationship Id="rId4" Type="http://schemas.openxmlformats.org/officeDocument/2006/relationships/tags" Target="../tags/tag7.xml"/><Relationship Id="rId9" Type="http://schemas.openxmlformats.org/officeDocument/2006/relationships/image" Target="../media/image16.png"/><Relationship Id="rId14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hyperlink" Target="https://www.ruijienetworks.com/support" TargetMode="Externa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hyperlink" Target="https://www.ruijienetworks.com/support/caseportal" TargetMode="Externa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9"/>
          <p:cNvSpPr>
            <a:spLocks noGrp="1"/>
          </p:cNvSpPr>
          <p:nvPr>
            <p:ph type="ctrTitle"/>
          </p:nvPr>
        </p:nvSpPr>
        <p:spPr>
          <a:xfrm>
            <a:off x="646882" y="2447999"/>
            <a:ext cx="9541579" cy="825500"/>
          </a:xfrm>
        </p:spPr>
        <p:txBody>
          <a:bodyPr/>
          <a:lstStyle/>
          <a:p>
            <a:r>
              <a:rPr lang="en-US" altLang="zh-CN" dirty="0">
                <a:latin typeface="Noto Sans ExtraBold" panose="020B0902040504020204" pitchFamily="34" charset="0"/>
                <a:ea typeface="Noto Sans ExtraBold" panose="020B0902040504020204" pitchFamily="34" charset="0"/>
                <a:cs typeface="Noto Sans ExtraBold" panose="020B0902040504020204" pitchFamily="34" charset="0"/>
              </a:rPr>
              <a:t>2024 Ruijie </a:t>
            </a:r>
            <a:br>
              <a:rPr lang="en-US" altLang="zh-CN" dirty="0">
                <a:latin typeface="Noto Sans ExtraBold" panose="020B0902040504020204" pitchFamily="34" charset="0"/>
                <a:ea typeface="Noto Sans ExtraBold" panose="020B0902040504020204" pitchFamily="34" charset="0"/>
                <a:cs typeface="Noto Sans ExtraBold" panose="020B0902040504020204" pitchFamily="34" charset="0"/>
              </a:rPr>
            </a:br>
            <a:r>
              <a:rPr lang="en-US" altLang="zh-CN" dirty="0">
                <a:latin typeface="Noto Sans ExtraBold" panose="020B0902040504020204" pitchFamily="34" charset="0"/>
                <a:ea typeface="Noto Sans ExtraBold" panose="020B0902040504020204" pitchFamily="34" charset="0"/>
                <a:cs typeface="Noto Sans ExtraBold" panose="020B0902040504020204" pitchFamily="34" charset="0"/>
              </a:rPr>
              <a:t>Service &amp; Support </a:t>
            </a:r>
            <a:r>
              <a:rPr lang="en-US" altLang="zh-CN" sz="2500" dirty="0">
                <a:latin typeface="Noto Sans ExtraBold" panose="020B0902040504020204" pitchFamily="34" charset="0"/>
                <a:ea typeface="Noto Sans ExtraBold" panose="020B0902040504020204" pitchFamily="34" charset="0"/>
                <a:cs typeface="Noto Sans ExtraBold" panose="020B0902040504020204" pitchFamily="34" charset="0"/>
              </a:rPr>
              <a:t>(</a:t>
            </a:r>
            <a:r>
              <a:rPr lang="en-US" altLang="zh-CN" sz="2500" dirty="0" smtClean="0">
                <a:latin typeface="Noto Sans ExtraBold" panose="020B0902040504020204" pitchFamily="34" charset="0"/>
                <a:ea typeface="Noto Sans ExtraBold" panose="020B0902040504020204" pitchFamily="34" charset="0"/>
                <a:cs typeface="Noto Sans ExtraBold" panose="020B0902040504020204" pitchFamily="34" charset="0"/>
              </a:rPr>
              <a:t>V3.0</a:t>
            </a:r>
            <a:r>
              <a:rPr lang="en-US" altLang="zh-CN" sz="2500" dirty="0">
                <a:latin typeface="Noto Sans ExtraBold" panose="020B0902040504020204" pitchFamily="34" charset="0"/>
                <a:ea typeface="Noto Sans ExtraBold" panose="020B0902040504020204" pitchFamily="34" charset="0"/>
                <a:cs typeface="Noto Sans ExtraBold" panose="020B0902040504020204" pitchFamily="34" charset="0"/>
              </a:rPr>
              <a:t>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标题 3"/>
          <p:cNvSpPr txBox="1">
            <a:spLocks/>
          </p:cNvSpPr>
          <p:nvPr/>
        </p:nvSpPr>
        <p:spPr>
          <a:xfrm>
            <a:off x="576734" y="402155"/>
            <a:ext cx="10942166" cy="605684"/>
          </a:xfrm>
          <a:prstGeom prst="rect">
            <a:avLst/>
          </a:prstGeom>
        </p:spPr>
        <p:txBody>
          <a:bodyPr anchor="ctr"/>
          <a:lstStyle>
            <a:lvl1pPr algn="l" defTabSz="8636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rgbClr val="043CC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lang="en-US" altLang="zh-CN" dirty="0">
                <a:solidFill>
                  <a:schemeClr val="tx1"/>
                </a:solidFill>
                <a:latin typeface="Noto Sans Black" panose="020B0A02040504020204"/>
              </a:rPr>
              <a:t>Ruijie Service Platform: </a:t>
            </a:r>
            <a:r>
              <a:rPr lang="en-US" altLang="zh-CN" sz="2500" dirty="0" smtClean="0">
                <a:latin typeface="Noto Sans Black" panose="020B0A02040504020204"/>
              </a:rPr>
              <a:t>Ruijie </a:t>
            </a:r>
            <a:r>
              <a:rPr lang="en-US" altLang="zh-CN" sz="2500" dirty="0" err="1" smtClean="0">
                <a:latin typeface="Noto Sans Black" panose="020B0A02040504020204"/>
              </a:rPr>
              <a:t>Reyee</a:t>
            </a:r>
            <a:r>
              <a:rPr lang="en-US" altLang="zh-CN" sz="2500" dirty="0" smtClean="0">
                <a:latin typeface="Noto Sans Black" panose="020B0A02040504020204"/>
              </a:rPr>
              <a:t> App</a:t>
            </a:r>
            <a:endParaRPr lang="en-US" altLang="zh-CN" sz="2500" dirty="0">
              <a:latin typeface="Noto Sans Black" panose="020B0A02040504020204"/>
            </a:endParaRPr>
          </a:p>
        </p:txBody>
      </p:sp>
      <p:sp>
        <p:nvSpPr>
          <p:cNvPr id="110" name="内容占位符 2"/>
          <p:cNvSpPr txBox="1"/>
          <p:nvPr/>
        </p:nvSpPr>
        <p:spPr>
          <a:xfrm>
            <a:off x="576000" y="935831"/>
            <a:ext cx="10728066" cy="936103"/>
          </a:xfrm>
          <a:prstGeom prst="rect">
            <a:avLst/>
          </a:prstGeom>
        </p:spPr>
        <p:txBody>
          <a:bodyPr/>
          <a:lstStyle>
            <a:lvl1pPr marL="0" indent="0" algn="l" defTabSz="863600" rtl="0" eaLnBrk="1" latinLnBrk="0" hangingPunct="1">
              <a:lnSpc>
                <a:spcPct val="120000"/>
              </a:lnSpc>
              <a:spcBef>
                <a:spcPts val="945"/>
              </a:spcBef>
              <a:buFont typeface="Arial" panose="020B0604020202020204" pitchFamily="34" charset="0"/>
              <a:buNone/>
              <a:defRPr sz="1200" kern="1200">
                <a:solidFill>
                  <a:srgbClr val="50555A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431800" indent="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None/>
              <a:defRPr sz="2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1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19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437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8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86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04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22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altLang="zh-CN" sz="1800" dirty="0" smtClean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MA module in Ruijie </a:t>
            </a:r>
            <a:r>
              <a:rPr lang="en-US" altLang="zh-CN" sz="1800" dirty="0" err="1" smtClean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eyee</a:t>
            </a:r>
            <a:r>
              <a:rPr lang="en-US" altLang="zh-CN" sz="1800" dirty="0" smtClean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App can process RMA </a:t>
            </a:r>
            <a:r>
              <a:rPr lang="en-US" altLang="zh-CN" sz="18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business c</a:t>
            </a:r>
            <a:r>
              <a:rPr lang="en-US" altLang="zh-CN" sz="1800" dirty="0" smtClean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onveniently, include create RMA, search RMA to check the details process and check warranty by SN.</a:t>
            </a:r>
            <a:endParaRPr lang="en-US" altLang="zh-CN" sz="1800" dirty="0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23" name="íŝḻiḋê"/>
          <p:cNvSpPr txBox="1"/>
          <p:nvPr/>
        </p:nvSpPr>
        <p:spPr bwMode="auto">
          <a:xfrm flipH="1">
            <a:off x="6900051" y="1755248"/>
            <a:ext cx="1984113" cy="371427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1400" b="1" dirty="0" smtClean="0">
                <a:solidFill>
                  <a:srgbClr val="0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earch RMAs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30" name="îSlïḑè"/>
          <p:cNvSpPr/>
          <p:nvPr/>
        </p:nvSpPr>
        <p:spPr bwMode="auto">
          <a:xfrm flipH="1">
            <a:off x="10053787" y="2309737"/>
            <a:ext cx="345120" cy="35859"/>
          </a:xfrm>
          <a:custGeom>
            <a:avLst/>
            <a:gdLst>
              <a:gd name="T0" fmla="*/ 1143 w 1209"/>
              <a:gd name="T1" fmla="*/ 129 h 130"/>
              <a:gd name="T2" fmla="*/ 64 w 1209"/>
              <a:gd name="T3" fmla="*/ 129 h 130"/>
              <a:gd name="T4" fmla="*/ 0 w 1209"/>
              <a:gd name="T5" fmla="*/ 65 h 130"/>
              <a:gd name="T6" fmla="*/ 64 w 1209"/>
              <a:gd name="T7" fmla="*/ 0 h 130"/>
              <a:gd name="T8" fmla="*/ 1143 w 1209"/>
              <a:gd name="T9" fmla="*/ 0 h 130"/>
              <a:gd name="T10" fmla="*/ 1208 w 1209"/>
              <a:gd name="T11" fmla="*/ 65 h 130"/>
              <a:gd name="T12" fmla="*/ 1143 w 1209"/>
              <a:gd name="T13" fmla="*/ 129 h 13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209"/>
              <a:gd name="T22" fmla="*/ 0 h 130"/>
              <a:gd name="T23" fmla="*/ 1209 w 1209"/>
              <a:gd name="T24" fmla="*/ 130 h 13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209" h="130">
                <a:moveTo>
                  <a:pt x="1143" y="129"/>
                </a:moveTo>
                <a:lnTo>
                  <a:pt x="64" y="129"/>
                </a:lnTo>
                <a:cubicBezTo>
                  <a:pt x="29" y="129"/>
                  <a:pt x="0" y="100"/>
                  <a:pt x="0" y="65"/>
                </a:cubicBezTo>
                <a:cubicBezTo>
                  <a:pt x="0" y="29"/>
                  <a:pt x="29" y="0"/>
                  <a:pt x="64" y="0"/>
                </a:cubicBezTo>
                <a:lnTo>
                  <a:pt x="1143" y="0"/>
                </a:lnTo>
                <a:cubicBezTo>
                  <a:pt x="1179" y="0"/>
                  <a:pt x="1208" y="29"/>
                  <a:pt x="1208" y="65"/>
                </a:cubicBezTo>
                <a:cubicBezTo>
                  <a:pt x="1208" y="100"/>
                  <a:pt x="1179" y="129"/>
                  <a:pt x="1143" y="129"/>
                </a:cubicBezTo>
              </a:path>
            </a:pathLst>
          </a:custGeom>
          <a:solidFill>
            <a:srgbClr val="FFFFFF"/>
          </a:solidFill>
          <a:ln>
            <a:noFill/>
          </a:ln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27" name="íŝḻiḋê"/>
          <p:cNvSpPr txBox="1"/>
          <p:nvPr/>
        </p:nvSpPr>
        <p:spPr bwMode="auto">
          <a:xfrm flipH="1">
            <a:off x="2871393" y="1799927"/>
            <a:ext cx="1951953" cy="371427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1400" b="1" dirty="0" smtClean="0">
                <a:solidFill>
                  <a:srgbClr val="0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MA Module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28" name="ïşḷiďè"/>
          <p:cNvSpPr txBox="1"/>
          <p:nvPr/>
        </p:nvSpPr>
        <p:spPr bwMode="auto">
          <a:xfrm flipH="1">
            <a:off x="4823346" y="1787375"/>
            <a:ext cx="1951954" cy="371427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1400" b="1" dirty="0" smtClean="0">
                <a:solidFill>
                  <a:srgbClr val="0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reate a RMA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7802" y="2171353"/>
            <a:ext cx="2034755" cy="3589014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51138" y="2171353"/>
            <a:ext cx="1822160" cy="365071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7362" y="2171354"/>
            <a:ext cx="1770045" cy="3650718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1578" y="2171353"/>
            <a:ext cx="1822383" cy="3589014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pic>
        <p:nvPicPr>
          <p:cNvPr id="21" name="图片 2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2866" y="2450279"/>
            <a:ext cx="1432942" cy="1423872"/>
          </a:xfrm>
          <a:prstGeom prst="rect">
            <a:avLst/>
          </a:prstGeom>
        </p:spPr>
      </p:pic>
      <p:pic>
        <p:nvPicPr>
          <p:cNvPr id="22" name="图片 2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2866" y="3960167"/>
            <a:ext cx="1432942" cy="1424097"/>
          </a:xfrm>
          <a:prstGeom prst="rect">
            <a:avLst/>
          </a:prstGeom>
        </p:spPr>
      </p:pic>
      <p:sp>
        <p:nvSpPr>
          <p:cNvPr id="49" name="íŝḻiḋê"/>
          <p:cNvSpPr txBox="1"/>
          <p:nvPr/>
        </p:nvSpPr>
        <p:spPr bwMode="auto">
          <a:xfrm flipH="1">
            <a:off x="224085" y="1866242"/>
            <a:ext cx="1951953" cy="371427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 fontScale="77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1400" b="1" dirty="0" smtClean="0">
                <a:solidFill>
                  <a:srgbClr val="0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Downloa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1400" b="1" dirty="0" smtClean="0">
                <a:solidFill>
                  <a:srgbClr val="0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uijie </a:t>
            </a:r>
            <a:r>
              <a:rPr lang="en-US" altLang="zh-CN" sz="1400" b="1" dirty="0" err="1" smtClean="0">
                <a:solidFill>
                  <a:srgbClr val="0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eyee</a:t>
            </a:r>
            <a:r>
              <a:rPr lang="en-US" altLang="zh-CN" sz="1400" b="1" dirty="0" smtClean="0">
                <a:solidFill>
                  <a:srgbClr val="0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App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50" name="íŝḻiḋê"/>
          <p:cNvSpPr txBox="1"/>
          <p:nvPr/>
        </p:nvSpPr>
        <p:spPr bwMode="auto">
          <a:xfrm flipH="1">
            <a:off x="8884164" y="1755248"/>
            <a:ext cx="1984113" cy="371427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heck Warranty</a:t>
            </a:r>
            <a:endParaRPr kumimoji="0" lang="en-US" altLang="zh-CN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标题 3"/>
          <p:cNvSpPr txBox="1">
            <a:spLocks/>
          </p:cNvSpPr>
          <p:nvPr/>
        </p:nvSpPr>
        <p:spPr>
          <a:xfrm>
            <a:off x="576734" y="402155"/>
            <a:ext cx="10942166" cy="605684"/>
          </a:xfrm>
          <a:prstGeom prst="rect">
            <a:avLst/>
          </a:prstGeom>
        </p:spPr>
        <p:txBody>
          <a:bodyPr anchor="ctr"/>
          <a:lstStyle>
            <a:lvl1pPr algn="l" defTabSz="8636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rgbClr val="043CC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lang="en-US" altLang="zh-CN" dirty="0" err="1">
                <a:solidFill>
                  <a:schemeClr val="tx1"/>
                </a:solidFill>
                <a:latin typeface="Noto Sans Black" panose="020B0A02040504020204"/>
              </a:rPr>
              <a:t>Ruijie</a:t>
            </a:r>
            <a:r>
              <a:rPr lang="en-US" altLang="zh-CN" dirty="0">
                <a:solidFill>
                  <a:schemeClr val="tx1"/>
                </a:solidFill>
                <a:latin typeface="Noto Sans Black" panose="020B0A02040504020204"/>
              </a:rPr>
              <a:t> Service Platform: </a:t>
            </a:r>
            <a:r>
              <a:rPr lang="en-US" altLang="zh-CN" sz="2500" dirty="0">
                <a:latin typeface="Noto Sans Black" panose="020B0A02040504020204"/>
              </a:rPr>
              <a:t>RITA-</a:t>
            </a:r>
            <a:r>
              <a:rPr lang="en-US" altLang="zh-CN" sz="2500" dirty="0" err="1">
                <a:latin typeface="Noto Sans Black" panose="020B0A02040504020204"/>
              </a:rPr>
              <a:t>Ruijie</a:t>
            </a:r>
            <a:r>
              <a:rPr lang="en-US" altLang="zh-CN" sz="2500" dirty="0">
                <a:latin typeface="Noto Sans Black" panose="020B0A02040504020204"/>
              </a:rPr>
              <a:t> Intelligent Tech Assistant</a:t>
            </a:r>
          </a:p>
        </p:txBody>
      </p:sp>
      <p:sp>
        <p:nvSpPr>
          <p:cNvPr id="110" name="内容占位符 2"/>
          <p:cNvSpPr txBox="1"/>
          <p:nvPr/>
        </p:nvSpPr>
        <p:spPr>
          <a:xfrm>
            <a:off x="576000" y="1080215"/>
            <a:ext cx="10728066" cy="936103"/>
          </a:xfrm>
          <a:prstGeom prst="rect">
            <a:avLst/>
          </a:prstGeom>
        </p:spPr>
        <p:txBody>
          <a:bodyPr/>
          <a:lstStyle>
            <a:lvl1pPr marL="0" indent="0" algn="l" defTabSz="863600" rtl="0" eaLnBrk="1" latinLnBrk="0" hangingPunct="1">
              <a:lnSpc>
                <a:spcPct val="120000"/>
              </a:lnSpc>
              <a:spcBef>
                <a:spcPts val="945"/>
              </a:spcBef>
              <a:buFont typeface="Arial" panose="020B0604020202020204" pitchFamily="34" charset="0"/>
              <a:buNone/>
              <a:defRPr sz="1200" kern="1200">
                <a:solidFill>
                  <a:srgbClr val="50555A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431800" indent="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None/>
              <a:defRPr sz="2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1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19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437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8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86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04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22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ITA Robot provides </a:t>
            </a:r>
            <a:r>
              <a:rPr lang="en-US" altLang="zh-CN" sz="18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24*7</a:t>
            </a:r>
            <a:r>
              <a:rPr lang="en-US" altLang="zh-CN" sz="18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service for customers, helping customers find the answer by a few clicks in the navigation bar or the chat with RITA. </a:t>
            </a:r>
          </a:p>
        </p:txBody>
      </p:sp>
      <p:sp>
        <p:nvSpPr>
          <p:cNvPr id="17" name="文本框 16">
            <a:hlinkClick r:id="rId2"/>
          </p:cNvPr>
          <p:cNvSpPr txBox="1"/>
          <p:nvPr/>
        </p:nvSpPr>
        <p:spPr>
          <a:xfrm>
            <a:off x="716655" y="5527761"/>
            <a:ext cx="105599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SzPct val="25000"/>
            </a:pPr>
            <a:r>
              <a:rPr lang="en-US" altLang="zh-CN" sz="1200" u="sng" dirty="0">
                <a:solidFill>
                  <a:srgbClr val="FF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hlinkClick r:id="rId2"/>
              </a:rPr>
              <a:t>https://www.ruijienetworks.com/rita</a:t>
            </a:r>
            <a:endParaRPr lang="en-US" altLang="zh-CN" sz="1200" u="sng" dirty="0">
              <a:solidFill>
                <a:srgbClr val="FF0000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grpSp>
        <p:nvGrpSpPr>
          <p:cNvPr id="18" name="组合 17"/>
          <p:cNvGrpSpPr/>
          <p:nvPr/>
        </p:nvGrpSpPr>
        <p:grpSpPr>
          <a:xfrm>
            <a:off x="331448" y="1906983"/>
            <a:ext cx="4687297" cy="3033274"/>
            <a:chOff x="458376" y="1759966"/>
            <a:chExt cx="5038382" cy="3260470"/>
          </a:xfrm>
        </p:grpSpPr>
        <p:sp>
          <p:nvSpPr>
            <p:cNvPr id="36" name="文本占位符 19"/>
            <p:cNvSpPr txBox="1"/>
            <p:nvPr/>
          </p:nvSpPr>
          <p:spPr>
            <a:xfrm>
              <a:off x="760565" y="2044372"/>
              <a:ext cx="4513632" cy="422964"/>
            </a:xfrm>
            <a:prstGeom prst="rect">
              <a:avLst/>
            </a:prstGeom>
          </p:spPr>
          <p:txBody>
            <a:bodyPr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微软雅黑" panose="020B0503020204020204" charset="-122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微软雅黑" panose="020B0503020204020204" charset="-122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微软雅黑" panose="020B0503020204020204" charset="-122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微软雅黑" panose="020B0503020204020204" charset="-122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微软雅黑" panose="020B0503020204020204" charset="-122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2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Pocket Network Expert</a:t>
              </a:r>
            </a:p>
          </p:txBody>
        </p:sp>
        <p:grpSp>
          <p:nvGrpSpPr>
            <p:cNvPr id="37" name="组合 36"/>
            <p:cNvGrpSpPr/>
            <p:nvPr/>
          </p:nvGrpSpPr>
          <p:grpSpPr>
            <a:xfrm>
              <a:off x="833267" y="2928733"/>
              <a:ext cx="4354624" cy="2091703"/>
              <a:chOff x="209526" y="2926410"/>
              <a:chExt cx="4354624" cy="2091703"/>
            </a:xfrm>
          </p:grpSpPr>
          <p:pic>
            <p:nvPicPr>
              <p:cNvPr id="40" name="图片 39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09526" y="2926410"/>
                <a:ext cx="1971264" cy="2091703"/>
              </a:xfrm>
              <a:prstGeom prst="rect">
                <a:avLst/>
              </a:prstGeom>
            </p:spPr>
          </p:pic>
          <p:sp>
            <p:nvSpPr>
              <p:cNvPr id="41" name="文本框 40"/>
              <p:cNvSpPr txBox="1"/>
              <p:nvPr/>
            </p:nvSpPr>
            <p:spPr>
              <a:xfrm>
                <a:off x="1898694" y="3019844"/>
                <a:ext cx="2665456" cy="5624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b="1" dirty="0">
                    <a:solidFill>
                      <a:srgbClr val="D10413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RITA</a:t>
                </a:r>
              </a:p>
              <a:p>
                <a:r>
                  <a:rPr lang="en-US" sz="1000" b="1" dirty="0">
                    <a:solidFill>
                      <a:srgbClr val="D10413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Ruijie Intelligent Tech Assistant </a:t>
                </a:r>
              </a:p>
            </p:txBody>
          </p:sp>
          <p:pic>
            <p:nvPicPr>
              <p:cNvPr id="42" name="图片 41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72041" y="3570335"/>
                <a:ext cx="1311178" cy="1311178"/>
              </a:xfrm>
              <a:prstGeom prst="rect">
                <a:avLst/>
              </a:prstGeom>
            </p:spPr>
          </p:pic>
        </p:grpSp>
        <p:sp>
          <p:nvSpPr>
            <p:cNvPr id="38" name="文本占位符 19"/>
            <p:cNvSpPr txBox="1"/>
            <p:nvPr/>
          </p:nvSpPr>
          <p:spPr>
            <a:xfrm>
              <a:off x="458376" y="1759966"/>
              <a:ext cx="4513632" cy="422964"/>
            </a:xfrm>
            <a:prstGeom prst="rect">
              <a:avLst/>
            </a:prstGeom>
          </p:spPr>
          <p:txBody>
            <a:bodyPr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微软雅黑" panose="020B0503020204020204" charset="-122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微软雅黑" panose="020B0503020204020204" charset="-122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微软雅黑" panose="020B0503020204020204" charset="-122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微软雅黑" panose="020B0503020204020204" charset="-122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微软雅黑" panose="020B0503020204020204" charset="-122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5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“</a:t>
              </a:r>
            </a:p>
          </p:txBody>
        </p:sp>
        <p:sp>
          <p:nvSpPr>
            <p:cNvPr id="39" name="文本占位符 19"/>
            <p:cNvSpPr txBox="1"/>
            <p:nvPr/>
          </p:nvSpPr>
          <p:spPr>
            <a:xfrm>
              <a:off x="4830774" y="2379879"/>
              <a:ext cx="665984" cy="422964"/>
            </a:xfrm>
            <a:prstGeom prst="rect">
              <a:avLst/>
            </a:prstGeom>
          </p:spPr>
          <p:txBody>
            <a:bodyPr/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微软雅黑" panose="020B0503020204020204" charset="-122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微软雅黑" panose="020B0503020204020204" charset="-122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微软雅黑" panose="020B0503020204020204" charset="-122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微软雅黑" panose="020B0503020204020204" charset="-122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微软雅黑" panose="020B0503020204020204" charset="-122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5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”</a:t>
              </a:r>
            </a:p>
          </p:txBody>
        </p:sp>
      </p:grpSp>
      <p:sp>
        <p:nvSpPr>
          <p:cNvPr id="23" name="íŝḻiḋê"/>
          <p:cNvSpPr txBox="1"/>
          <p:nvPr/>
        </p:nvSpPr>
        <p:spPr bwMode="auto">
          <a:xfrm flipH="1">
            <a:off x="9234292" y="1799928"/>
            <a:ext cx="1984113" cy="371427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roduct Specification</a:t>
            </a:r>
          </a:p>
        </p:txBody>
      </p:sp>
      <p:grpSp>
        <p:nvGrpSpPr>
          <p:cNvPr id="25" name="组合 24"/>
          <p:cNvGrpSpPr/>
          <p:nvPr/>
        </p:nvGrpSpPr>
        <p:grpSpPr>
          <a:xfrm>
            <a:off x="7358156" y="2172225"/>
            <a:ext cx="1742343" cy="3200499"/>
            <a:chOff x="5987552" y="2185386"/>
            <a:chExt cx="2380939" cy="4080426"/>
          </a:xfrm>
        </p:grpSpPr>
        <p:sp>
          <p:nvSpPr>
            <p:cNvPr id="31" name="íṥ1ïḑé"/>
            <p:cNvSpPr/>
            <p:nvPr/>
          </p:nvSpPr>
          <p:spPr bwMode="auto">
            <a:xfrm flipH="1">
              <a:off x="5987552" y="2185386"/>
              <a:ext cx="2380939" cy="4080426"/>
            </a:xfrm>
            <a:custGeom>
              <a:avLst/>
              <a:gdLst>
                <a:gd name="T0" fmla="*/ 8594 w 8630"/>
                <a:gd name="T1" fmla="*/ 3320 h 17382"/>
                <a:gd name="T2" fmla="*/ 8596 w 8630"/>
                <a:gd name="T3" fmla="*/ 3320 h 17382"/>
                <a:gd name="T4" fmla="*/ 8629 w 8630"/>
                <a:gd name="T5" fmla="*/ 3353 h 17382"/>
                <a:gd name="T6" fmla="*/ 8629 w 8630"/>
                <a:gd name="T7" fmla="*/ 4419 h 17382"/>
                <a:gd name="T8" fmla="*/ 8596 w 8630"/>
                <a:gd name="T9" fmla="*/ 4452 h 17382"/>
                <a:gd name="T10" fmla="*/ 8594 w 8630"/>
                <a:gd name="T11" fmla="*/ 4452 h 17382"/>
                <a:gd name="T12" fmla="*/ 8594 w 8630"/>
                <a:gd name="T13" fmla="*/ 16371 h 17382"/>
                <a:gd name="T14" fmla="*/ 7584 w 8630"/>
                <a:gd name="T15" fmla="*/ 17381 h 17382"/>
                <a:gd name="T16" fmla="*/ 1043 w 8630"/>
                <a:gd name="T17" fmla="*/ 17381 h 17382"/>
                <a:gd name="T18" fmla="*/ 33 w 8630"/>
                <a:gd name="T19" fmla="*/ 16371 h 17382"/>
                <a:gd name="T20" fmla="*/ 33 w 8630"/>
                <a:gd name="T21" fmla="*/ 5859 h 17382"/>
                <a:gd name="T22" fmla="*/ 33 w 8630"/>
                <a:gd name="T23" fmla="*/ 5859 h 17382"/>
                <a:gd name="T24" fmla="*/ 0 w 8630"/>
                <a:gd name="T25" fmla="*/ 5826 h 17382"/>
                <a:gd name="T26" fmla="*/ 0 w 8630"/>
                <a:gd name="T27" fmla="*/ 4760 h 17382"/>
                <a:gd name="T28" fmla="*/ 33 w 8630"/>
                <a:gd name="T29" fmla="*/ 4727 h 17382"/>
                <a:gd name="T30" fmla="*/ 33 w 8630"/>
                <a:gd name="T31" fmla="*/ 4727 h 17382"/>
                <a:gd name="T32" fmla="*/ 33 w 8630"/>
                <a:gd name="T33" fmla="*/ 4452 h 17382"/>
                <a:gd name="T34" fmla="*/ 33 w 8630"/>
                <a:gd name="T35" fmla="*/ 4452 h 17382"/>
                <a:gd name="T36" fmla="*/ 0 w 8630"/>
                <a:gd name="T37" fmla="*/ 4419 h 17382"/>
                <a:gd name="T38" fmla="*/ 0 w 8630"/>
                <a:gd name="T39" fmla="*/ 3353 h 17382"/>
                <a:gd name="T40" fmla="*/ 33 w 8630"/>
                <a:gd name="T41" fmla="*/ 3320 h 17382"/>
                <a:gd name="T42" fmla="*/ 33 w 8630"/>
                <a:gd name="T43" fmla="*/ 3320 h 17382"/>
                <a:gd name="T44" fmla="*/ 33 w 8630"/>
                <a:gd name="T45" fmla="*/ 2704 h 17382"/>
                <a:gd name="T46" fmla="*/ 33 w 8630"/>
                <a:gd name="T47" fmla="*/ 2704 h 17382"/>
                <a:gd name="T48" fmla="*/ 0 w 8630"/>
                <a:gd name="T49" fmla="*/ 2672 h 17382"/>
                <a:gd name="T50" fmla="*/ 0 w 8630"/>
                <a:gd name="T51" fmla="*/ 2075 h 17382"/>
                <a:gd name="T52" fmla="*/ 33 w 8630"/>
                <a:gd name="T53" fmla="*/ 2042 h 17382"/>
                <a:gd name="T54" fmla="*/ 33 w 8630"/>
                <a:gd name="T55" fmla="*/ 2042 h 17382"/>
                <a:gd name="T56" fmla="*/ 33 w 8630"/>
                <a:gd name="T57" fmla="*/ 1010 h 17382"/>
                <a:gd name="T58" fmla="*/ 1043 w 8630"/>
                <a:gd name="T59" fmla="*/ 0 h 17382"/>
                <a:gd name="T60" fmla="*/ 7584 w 8630"/>
                <a:gd name="T61" fmla="*/ 0 h 17382"/>
                <a:gd name="T62" fmla="*/ 8594 w 8630"/>
                <a:gd name="T63" fmla="*/ 1010 h 17382"/>
                <a:gd name="T64" fmla="*/ 8594 w 8630"/>
                <a:gd name="T65" fmla="*/ 3320 h 1738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8630"/>
                <a:gd name="T100" fmla="*/ 0 h 17382"/>
                <a:gd name="T101" fmla="*/ 8630 w 8630"/>
                <a:gd name="T102" fmla="*/ 17382 h 1738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8630" h="17382">
                  <a:moveTo>
                    <a:pt x="8594" y="3320"/>
                  </a:moveTo>
                  <a:lnTo>
                    <a:pt x="8596" y="3320"/>
                  </a:lnTo>
                  <a:cubicBezTo>
                    <a:pt x="8614" y="3320"/>
                    <a:pt x="8629" y="3335"/>
                    <a:pt x="8629" y="3353"/>
                  </a:cubicBezTo>
                  <a:lnTo>
                    <a:pt x="8629" y="4419"/>
                  </a:lnTo>
                  <a:cubicBezTo>
                    <a:pt x="8629" y="4438"/>
                    <a:pt x="8614" y="4452"/>
                    <a:pt x="8596" y="4452"/>
                  </a:cubicBezTo>
                  <a:lnTo>
                    <a:pt x="8594" y="4452"/>
                  </a:lnTo>
                  <a:lnTo>
                    <a:pt x="8594" y="16371"/>
                  </a:lnTo>
                  <a:cubicBezTo>
                    <a:pt x="8594" y="16928"/>
                    <a:pt x="8141" y="17381"/>
                    <a:pt x="7584" y="17381"/>
                  </a:cubicBezTo>
                  <a:lnTo>
                    <a:pt x="1043" y="17381"/>
                  </a:lnTo>
                  <a:cubicBezTo>
                    <a:pt x="487" y="17381"/>
                    <a:pt x="33" y="16928"/>
                    <a:pt x="33" y="16371"/>
                  </a:cubicBezTo>
                  <a:lnTo>
                    <a:pt x="33" y="5859"/>
                  </a:lnTo>
                  <a:cubicBezTo>
                    <a:pt x="15" y="5859"/>
                    <a:pt x="0" y="5844"/>
                    <a:pt x="0" y="5826"/>
                  </a:cubicBezTo>
                  <a:lnTo>
                    <a:pt x="0" y="4760"/>
                  </a:lnTo>
                  <a:cubicBezTo>
                    <a:pt x="0" y="4741"/>
                    <a:pt x="15" y="4727"/>
                    <a:pt x="33" y="4727"/>
                  </a:cubicBezTo>
                  <a:lnTo>
                    <a:pt x="33" y="4452"/>
                  </a:lnTo>
                  <a:cubicBezTo>
                    <a:pt x="15" y="4452"/>
                    <a:pt x="0" y="4438"/>
                    <a:pt x="0" y="4419"/>
                  </a:cubicBezTo>
                  <a:lnTo>
                    <a:pt x="0" y="3353"/>
                  </a:lnTo>
                  <a:cubicBezTo>
                    <a:pt x="0" y="3335"/>
                    <a:pt x="15" y="3320"/>
                    <a:pt x="33" y="3320"/>
                  </a:cubicBezTo>
                  <a:lnTo>
                    <a:pt x="33" y="2704"/>
                  </a:lnTo>
                  <a:cubicBezTo>
                    <a:pt x="15" y="2704"/>
                    <a:pt x="0" y="2690"/>
                    <a:pt x="0" y="2672"/>
                  </a:cubicBezTo>
                  <a:lnTo>
                    <a:pt x="0" y="2075"/>
                  </a:lnTo>
                  <a:cubicBezTo>
                    <a:pt x="0" y="2057"/>
                    <a:pt x="15" y="2042"/>
                    <a:pt x="33" y="2042"/>
                  </a:cubicBezTo>
                  <a:lnTo>
                    <a:pt x="33" y="1010"/>
                  </a:lnTo>
                  <a:cubicBezTo>
                    <a:pt x="33" y="453"/>
                    <a:pt x="487" y="0"/>
                    <a:pt x="1043" y="0"/>
                  </a:cubicBezTo>
                  <a:lnTo>
                    <a:pt x="7584" y="0"/>
                  </a:lnTo>
                  <a:cubicBezTo>
                    <a:pt x="8141" y="0"/>
                    <a:pt x="8594" y="453"/>
                    <a:pt x="8594" y="1010"/>
                  </a:cubicBezTo>
                  <a:lnTo>
                    <a:pt x="8594" y="3320"/>
                  </a:ln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32" name="îSlïḑè"/>
            <p:cNvSpPr/>
            <p:nvPr/>
          </p:nvSpPr>
          <p:spPr bwMode="auto">
            <a:xfrm flipH="1">
              <a:off x="6942215" y="2360640"/>
              <a:ext cx="471612" cy="45719"/>
            </a:xfrm>
            <a:custGeom>
              <a:avLst/>
              <a:gdLst>
                <a:gd name="T0" fmla="*/ 1143 w 1209"/>
                <a:gd name="T1" fmla="*/ 129 h 130"/>
                <a:gd name="T2" fmla="*/ 64 w 1209"/>
                <a:gd name="T3" fmla="*/ 129 h 130"/>
                <a:gd name="T4" fmla="*/ 0 w 1209"/>
                <a:gd name="T5" fmla="*/ 65 h 130"/>
                <a:gd name="T6" fmla="*/ 64 w 1209"/>
                <a:gd name="T7" fmla="*/ 0 h 130"/>
                <a:gd name="T8" fmla="*/ 1143 w 1209"/>
                <a:gd name="T9" fmla="*/ 0 h 130"/>
                <a:gd name="T10" fmla="*/ 1208 w 1209"/>
                <a:gd name="T11" fmla="*/ 65 h 130"/>
                <a:gd name="T12" fmla="*/ 1143 w 1209"/>
                <a:gd name="T13" fmla="*/ 129 h 1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09"/>
                <a:gd name="T22" fmla="*/ 0 h 130"/>
                <a:gd name="T23" fmla="*/ 1209 w 1209"/>
                <a:gd name="T24" fmla="*/ 130 h 1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09" h="130">
                  <a:moveTo>
                    <a:pt x="1143" y="129"/>
                  </a:moveTo>
                  <a:lnTo>
                    <a:pt x="64" y="129"/>
                  </a:lnTo>
                  <a:cubicBezTo>
                    <a:pt x="29" y="129"/>
                    <a:pt x="0" y="100"/>
                    <a:pt x="0" y="65"/>
                  </a:cubicBezTo>
                  <a:cubicBezTo>
                    <a:pt x="0" y="29"/>
                    <a:pt x="29" y="0"/>
                    <a:pt x="64" y="0"/>
                  </a:cubicBezTo>
                  <a:lnTo>
                    <a:pt x="1143" y="0"/>
                  </a:lnTo>
                  <a:cubicBezTo>
                    <a:pt x="1179" y="0"/>
                    <a:pt x="1208" y="29"/>
                    <a:pt x="1208" y="65"/>
                  </a:cubicBezTo>
                  <a:cubicBezTo>
                    <a:pt x="1208" y="100"/>
                    <a:pt x="1179" y="129"/>
                    <a:pt x="1143" y="12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</p:grpSp>
      <p:grpSp>
        <p:nvGrpSpPr>
          <p:cNvPr id="26" name="组合 25"/>
          <p:cNvGrpSpPr/>
          <p:nvPr/>
        </p:nvGrpSpPr>
        <p:grpSpPr>
          <a:xfrm>
            <a:off x="9336292" y="2171353"/>
            <a:ext cx="1742343" cy="3201371"/>
            <a:chOff x="8437864" y="2183713"/>
            <a:chExt cx="2380939" cy="4081618"/>
          </a:xfrm>
        </p:grpSpPr>
        <p:sp>
          <p:nvSpPr>
            <p:cNvPr id="29" name="íṥ1ïḑé"/>
            <p:cNvSpPr/>
            <p:nvPr/>
          </p:nvSpPr>
          <p:spPr bwMode="auto">
            <a:xfrm flipH="1">
              <a:off x="8437864" y="2183713"/>
              <a:ext cx="2380939" cy="4081618"/>
            </a:xfrm>
            <a:custGeom>
              <a:avLst/>
              <a:gdLst>
                <a:gd name="T0" fmla="*/ 8594 w 8630"/>
                <a:gd name="T1" fmla="*/ 3320 h 17382"/>
                <a:gd name="T2" fmla="*/ 8596 w 8630"/>
                <a:gd name="T3" fmla="*/ 3320 h 17382"/>
                <a:gd name="T4" fmla="*/ 8629 w 8630"/>
                <a:gd name="T5" fmla="*/ 3353 h 17382"/>
                <a:gd name="T6" fmla="*/ 8629 w 8630"/>
                <a:gd name="T7" fmla="*/ 4419 h 17382"/>
                <a:gd name="T8" fmla="*/ 8596 w 8630"/>
                <a:gd name="T9" fmla="*/ 4452 h 17382"/>
                <a:gd name="T10" fmla="*/ 8594 w 8630"/>
                <a:gd name="T11" fmla="*/ 4452 h 17382"/>
                <a:gd name="T12" fmla="*/ 8594 w 8630"/>
                <a:gd name="T13" fmla="*/ 16371 h 17382"/>
                <a:gd name="T14" fmla="*/ 7584 w 8630"/>
                <a:gd name="T15" fmla="*/ 17381 h 17382"/>
                <a:gd name="T16" fmla="*/ 1043 w 8630"/>
                <a:gd name="T17" fmla="*/ 17381 h 17382"/>
                <a:gd name="T18" fmla="*/ 33 w 8630"/>
                <a:gd name="T19" fmla="*/ 16371 h 17382"/>
                <a:gd name="T20" fmla="*/ 33 w 8630"/>
                <a:gd name="T21" fmla="*/ 5859 h 17382"/>
                <a:gd name="T22" fmla="*/ 33 w 8630"/>
                <a:gd name="T23" fmla="*/ 5859 h 17382"/>
                <a:gd name="T24" fmla="*/ 0 w 8630"/>
                <a:gd name="T25" fmla="*/ 5826 h 17382"/>
                <a:gd name="T26" fmla="*/ 0 w 8630"/>
                <a:gd name="T27" fmla="*/ 4760 h 17382"/>
                <a:gd name="T28" fmla="*/ 33 w 8630"/>
                <a:gd name="T29" fmla="*/ 4727 h 17382"/>
                <a:gd name="T30" fmla="*/ 33 w 8630"/>
                <a:gd name="T31" fmla="*/ 4727 h 17382"/>
                <a:gd name="T32" fmla="*/ 33 w 8630"/>
                <a:gd name="T33" fmla="*/ 4452 h 17382"/>
                <a:gd name="T34" fmla="*/ 33 w 8630"/>
                <a:gd name="T35" fmla="*/ 4452 h 17382"/>
                <a:gd name="T36" fmla="*/ 0 w 8630"/>
                <a:gd name="T37" fmla="*/ 4419 h 17382"/>
                <a:gd name="T38" fmla="*/ 0 w 8630"/>
                <a:gd name="T39" fmla="*/ 3353 h 17382"/>
                <a:gd name="T40" fmla="*/ 33 w 8630"/>
                <a:gd name="T41" fmla="*/ 3320 h 17382"/>
                <a:gd name="T42" fmla="*/ 33 w 8630"/>
                <a:gd name="T43" fmla="*/ 3320 h 17382"/>
                <a:gd name="T44" fmla="*/ 33 w 8630"/>
                <a:gd name="T45" fmla="*/ 2704 h 17382"/>
                <a:gd name="T46" fmla="*/ 33 w 8630"/>
                <a:gd name="T47" fmla="*/ 2704 h 17382"/>
                <a:gd name="T48" fmla="*/ 0 w 8630"/>
                <a:gd name="T49" fmla="*/ 2672 h 17382"/>
                <a:gd name="T50" fmla="*/ 0 w 8630"/>
                <a:gd name="T51" fmla="*/ 2075 h 17382"/>
                <a:gd name="T52" fmla="*/ 33 w 8630"/>
                <a:gd name="T53" fmla="*/ 2042 h 17382"/>
                <a:gd name="T54" fmla="*/ 33 w 8630"/>
                <a:gd name="T55" fmla="*/ 2042 h 17382"/>
                <a:gd name="T56" fmla="*/ 33 w 8630"/>
                <a:gd name="T57" fmla="*/ 1010 h 17382"/>
                <a:gd name="T58" fmla="*/ 1043 w 8630"/>
                <a:gd name="T59" fmla="*/ 0 h 17382"/>
                <a:gd name="T60" fmla="*/ 7584 w 8630"/>
                <a:gd name="T61" fmla="*/ 0 h 17382"/>
                <a:gd name="T62" fmla="*/ 8594 w 8630"/>
                <a:gd name="T63" fmla="*/ 1010 h 17382"/>
                <a:gd name="T64" fmla="*/ 8594 w 8630"/>
                <a:gd name="T65" fmla="*/ 3320 h 1738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8630"/>
                <a:gd name="T100" fmla="*/ 0 h 17382"/>
                <a:gd name="T101" fmla="*/ 8630 w 8630"/>
                <a:gd name="T102" fmla="*/ 17382 h 1738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8630" h="17382">
                  <a:moveTo>
                    <a:pt x="8594" y="3320"/>
                  </a:moveTo>
                  <a:lnTo>
                    <a:pt x="8596" y="3320"/>
                  </a:lnTo>
                  <a:cubicBezTo>
                    <a:pt x="8614" y="3320"/>
                    <a:pt x="8629" y="3335"/>
                    <a:pt x="8629" y="3353"/>
                  </a:cubicBezTo>
                  <a:lnTo>
                    <a:pt x="8629" y="4419"/>
                  </a:lnTo>
                  <a:cubicBezTo>
                    <a:pt x="8629" y="4438"/>
                    <a:pt x="8614" y="4452"/>
                    <a:pt x="8596" y="4452"/>
                  </a:cubicBezTo>
                  <a:lnTo>
                    <a:pt x="8594" y="4452"/>
                  </a:lnTo>
                  <a:lnTo>
                    <a:pt x="8594" y="16371"/>
                  </a:lnTo>
                  <a:cubicBezTo>
                    <a:pt x="8594" y="16928"/>
                    <a:pt x="8141" y="17381"/>
                    <a:pt x="7584" y="17381"/>
                  </a:cubicBezTo>
                  <a:lnTo>
                    <a:pt x="1043" y="17381"/>
                  </a:lnTo>
                  <a:cubicBezTo>
                    <a:pt x="487" y="17381"/>
                    <a:pt x="33" y="16928"/>
                    <a:pt x="33" y="16371"/>
                  </a:cubicBezTo>
                  <a:lnTo>
                    <a:pt x="33" y="5859"/>
                  </a:lnTo>
                  <a:cubicBezTo>
                    <a:pt x="15" y="5859"/>
                    <a:pt x="0" y="5844"/>
                    <a:pt x="0" y="5826"/>
                  </a:cubicBezTo>
                  <a:lnTo>
                    <a:pt x="0" y="4760"/>
                  </a:lnTo>
                  <a:cubicBezTo>
                    <a:pt x="0" y="4741"/>
                    <a:pt x="15" y="4727"/>
                    <a:pt x="33" y="4727"/>
                  </a:cubicBezTo>
                  <a:lnTo>
                    <a:pt x="33" y="4452"/>
                  </a:lnTo>
                  <a:cubicBezTo>
                    <a:pt x="15" y="4452"/>
                    <a:pt x="0" y="4438"/>
                    <a:pt x="0" y="4419"/>
                  </a:cubicBezTo>
                  <a:lnTo>
                    <a:pt x="0" y="3353"/>
                  </a:lnTo>
                  <a:cubicBezTo>
                    <a:pt x="0" y="3335"/>
                    <a:pt x="15" y="3320"/>
                    <a:pt x="33" y="3320"/>
                  </a:cubicBezTo>
                  <a:lnTo>
                    <a:pt x="33" y="2704"/>
                  </a:lnTo>
                  <a:cubicBezTo>
                    <a:pt x="15" y="2704"/>
                    <a:pt x="0" y="2690"/>
                    <a:pt x="0" y="2672"/>
                  </a:cubicBezTo>
                  <a:lnTo>
                    <a:pt x="0" y="2075"/>
                  </a:lnTo>
                  <a:cubicBezTo>
                    <a:pt x="0" y="2057"/>
                    <a:pt x="15" y="2042"/>
                    <a:pt x="33" y="2042"/>
                  </a:cubicBezTo>
                  <a:lnTo>
                    <a:pt x="33" y="1010"/>
                  </a:lnTo>
                  <a:cubicBezTo>
                    <a:pt x="33" y="453"/>
                    <a:pt x="487" y="0"/>
                    <a:pt x="1043" y="0"/>
                  </a:cubicBezTo>
                  <a:lnTo>
                    <a:pt x="7584" y="0"/>
                  </a:lnTo>
                  <a:cubicBezTo>
                    <a:pt x="8141" y="0"/>
                    <a:pt x="8594" y="453"/>
                    <a:pt x="8594" y="1010"/>
                  </a:cubicBezTo>
                  <a:lnTo>
                    <a:pt x="8594" y="3320"/>
                  </a:lnTo>
                </a:path>
              </a:pathLst>
            </a:custGeom>
            <a:solidFill>
              <a:schemeClr val="tx2">
                <a:lumMod val="50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30" name="îSlïḑè"/>
            <p:cNvSpPr/>
            <p:nvPr/>
          </p:nvSpPr>
          <p:spPr bwMode="auto">
            <a:xfrm flipH="1">
              <a:off x="9418334" y="2360159"/>
              <a:ext cx="471612" cy="45719"/>
            </a:xfrm>
            <a:custGeom>
              <a:avLst/>
              <a:gdLst>
                <a:gd name="T0" fmla="*/ 1143 w 1209"/>
                <a:gd name="T1" fmla="*/ 129 h 130"/>
                <a:gd name="T2" fmla="*/ 64 w 1209"/>
                <a:gd name="T3" fmla="*/ 129 h 130"/>
                <a:gd name="T4" fmla="*/ 0 w 1209"/>
                <a:gd name="T5" fmla="*/ 65 h 130"/>
                <a:gd name="T6" fmla="*/ 64 w 1209"/>
                <a:gd name="T7" fmla="*/ 0 h 130"/>
                <a:gd name="T8" fmla="*/ 1143 w 1209"/>
                <a:gd name="T9" fmla="*/ 0 h 130"/>
                <a:gd name="T10" fmla="*/ 1208 w 1209"/>
                <a:gd name="T11" fmla="*/ 65 h 130"/>
                <a:gd name="T12" fmla="*/ 1143 w 1209"/>
                <a:gd name="T13" fmla="*/ 129 h 1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09"/>
                <a:gd name="T22" fmla="*/ 0 h 130"/>
                <a:gd name="T23" fmla="*/ 1209 w 1209"/>
                <a:gd name="T24" fmla="*/ 130 h 1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09" h="130">
                  <a:moveTo>
                    <a:pt x="1143" y="129"/>
                  </a:moveTo>
                  <a:lnTo>
                    <a:pt x="64" y="129"/>
                  </a:lnTo>
                  <a:cubicBezTo>
                    <a:pt x="29" y="129"/>
                    <a:pt x="0" y="100"/>
                    <a:pt x="0" y="65"/>
                  </a:cubicBezTo>
                  <a:cubicBezTo>
                    <a:pt x="0" y="29"/>
                    <a:pt x="29" y="0"/>
                    <a:pt x="64" y="0"/>
                  </a:cubicBezTo>
                  <a:lnTo>
                    <a:pt x="1143" y="0"/>
                  </a:lnTo>
                  <a:cubicBezTo>
                    <a:pt x="1179" y="0"/>
                    <a:pt x="1208" y="29"/>
                    <a:pt x="1208" y="65"/>
                  </a:cubicBezTo>
                  <a:cubicBezTo>
                    <a:pt x="1208" y="100"/>
                    <a:pt x="1179" y="129"/>
                    <a:pt x="1143" y="12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</p:grpSp>
      <p:sp>
        <p:nvSpPr>
          <p:cNvPr id="27" name="íŝḻiḋê"/>
          <p:cNvSpPr txBox="1"/>
          <p:nvPr/>
        </p:nvSpPr>
        <p:spPr bwMode="auto">
          <a:xfrm flipH="1">
            <a:off x="5203915" y="1799927"/>
            <a:ext cx="1951953" cy="371427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nswer FAQ</a:t>
            </a:r>
          </a:p>
        </p:txBody>
      </p:sp>
      <p:sp>
        <p:nvSpPr>
          <p:cNvPr id="28" name="ïşḷiďè"/>
          <p:cNvSpPr txBox="1"/>
          <p:nvPr/>
        </p:nvSpPr>
        <p:spPr bwMode="auto">
          <a:xfrm flipH="1">
            <a:off x="7253350" y="1799927"/>
            <a:ext cx="1951954" cy="371427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Troubleshooting</a:t>
            </a:r>
          </a:p>
        </p:txBody>
      </p:sp>
      <p:grpSp>
        <p:nvGrpSpPr>
          <p:cNvPr id="4" name="组合 3"/>
          <p:cNvGrpSpPr/>
          <p:nvPr/>
        </p:nvGrpSpPr>
        <p:grpSpPr>
          <a:xfrm>
            <a:off x="5347306" y="2172225"/>
            <a:ext cx="1742343" cy="3200499"/>
            <a:chOff x="5347306" y="2172225"/>
            <a:chExt cx="1742343" cy="3200499"/>
          </a:xfrm>
        </p:grpSpPr>
        <p:grpSp>
          <p:nvGrpSpPr>
            <p:cNvPr id="24" name="组合 23"/>
            <p:cNvGrpSpPr/>
            <p:nvPr/>
          </p:nvGrpSpPr>
          <p:grpSpPr>
            <a:xfrm>
              <a:off x="5347306" y="2172225"/>
              <a:ext cx="1742343" cy="3200499"/>
              <a:chOff x="3464559" y="2180729"/>
              <a:chExt cx="2380939" cy="4080426"/>
            </a:xfrm>
          </p:grpSpPr>
          <p:sp>
            <p:nvSpPr>
              <p:cNvPr id="34" name="íṥ1ïḑé"/>
              <p:cNvSpPr/>
              <p:nvPr/>
            </p:nvSpPr>
            <p:spPr bwMode="auto">
              <a:xfrm flipH="1">
                <a:off x="3464559" y="2180729"/>
                <a:ext cx="2380939" cy="4080426"/>
              </a:xfrm>
              <a:custGeom>
                <a:avLst/>
                <a:gdLst>
                  <a:gd name="T0" fmla="*/ 8594 w 8630"/>
                  <a:gd name="T1" fmla="*/ 3320 h 17382"/>
                  <a:gd name="T2" fmla="*/ 8596 w 8630"/>
                  <a:gd name="T3" fmla="*/ 3320 h 17382"/>
                  <a:gd name="T4" fmla="*/ 8629 w 8630"/>
                  <a:gd name="T5" fmla="*/ 3353 h 17382"/>
                  <a:gd name="T6" fmla="*/ 8629 w 8630"/>
                  <a:gd name="T7" fmla="*/ 4419 h 17382"/>
                  <a:gd name="T8" fmla="*/ 8596 w 8630"/>
                  <a:gd name="T9" fmla="*/ 4452 h 17382"/>
                  <a:gd name="T10" fmla="*/ 8594 w 8630"/>
                  <a:gd name="T11" fmla="*/ 4452 h 17382"/>
                  <a:gd name="T12" fmla="*/ 8594 w 8630"/>
                  <a:gd name="T13" fmla="*/ 16371 h 17382"/>
                  <a:gd name="T14" fmla="*/ 7584 w 8630"/>
                  <a:gd name="T15" fmla="*/ 17381 h 17382"/>
                  <a:gd name="T16" fmla="*/ 1043 w 8630"/>
                  <a:gd name="T17" fmla="*/ 17381 h 17382"/>
                  <a:gd name="T18" fmla="*/ 33 w 8630"/>
                  <a:gd name="T19" fmla="*/ 16371 h 17382"/>
                  <a:gd name="T20" fmla="*/ 33 w 8630"/>
                  <a:gd name="T21" fmla="*/ 5859 h 17382"/>
                  <a:gd name="T22" fmla="*/ 33 w 8630"/>
                  <a:gd name="T23" fmla="*/ 5859 h 17382"/>
                  <a:gd name="T24" fmla="*/ 0 w 8630"/>
                  <a:gd name="T25" fmla="*/ 5826 h 17382"/>
                  <a:gd name="T26" fmla="*/ 0 w 8630"/>
                  <a:gd name="T27" fmla="*/ 4760 h 17382"/>
                  <a:gd name="T28" fmla="*/ 33 w 8630"/>
                  <a:gd name="T29" fmla="*/ 4727 h 17382"/>
                  <a:gd name="T30" fmla="*/ 33 w 8630"/>
                  <a:gd name="T31" fmla="*/ 4727 h 17382"/>
                  <a:gd name="T32" fmla="*/ 33 w 8630"/>
                  <a:gd name="T33" fmla="*/ 4452 h 17382"/>
                  <a:gd name="T34" fmla="*/ 33 w 8630"/>
                  <a:gd name="T35" fmla="*/ 4452 h 17382"/>
                  <a:gd name="T36" fmla="*/ 0 w 8630"/>
                  <a:gd name="T37" fmla="*/ 4419 h 17382"/>
                  <a:gd name="T38" fmla="*/ 0 w 8630"/>
                  <a:gd name="T39" fmla="*/ 3353 h 17382"/>
                  <a:gd name="T40" fmla="*/ 33 w 8630"/>
                  <a:gd name="T41" fmla="*/ 3320 h 17382"/>
                  <a:gd name="T42" fmla="*/ 33 w 8630"/>
                  <a:gd name="T43" fmla="*/ 3320 h 17382"/>
                  <a:gd name="T44" fmla="*/ 33 w 8630"/>
                  <a:gd name="T45" fmla="*/ 2704 h 17382"/>
                  <a:gd name="T46" fmla="*/ 33 w 8630"/>
                  <a:gd name="T47" fmla="*/ 2704 h 17382"/>
                  <a:gd name="T48" fmla="*/ 0 w 8630"/>
                  <a:gd name="T49" fmla="*/ 2672 h 17382"/>
                  <a:gd name="T50" fmla="*/ 0 w 8630"/>
                  <a:gd name="T51" fmla="*/ 2075 h 17382"/>
                  <a:gd name="T52" fmla="*/ 33 w 8630"/>
                  <a:gd name="T53" fmla="*/ 2042 h 17382"/>
                  <a:gd name="T54" fmla="*/ 33 w 8630"/>
                  <a:gd name="T55" fmla="*/ 2042 h 17382"/>
                  <a:gd name="T56" fmla="*/ 33 w 8630"/>
                  <a:gd name="T57" fmla="*/ 1010 h 17382"/>
                  <a:gd name="T58" fmla="*/ 1043 w 8630"/>
                  <a:gd name="T59" fmla="*/ 0 h 17382"/>
                  <a:gd name="T60" fmla="*/ 7584 w 8630"/>
                  <a:gd name="T61" fmla="*/ 0 h 17382"/>
                  <a:gd name="T62" fmla="*/ 8594 w 8630"/>
                  <a:gd name="T63" fmla="*/ 1010 h 17382"/>
                  <a:gd name="T64" fmla="*/ 8594 w 8630"/>
                  <a:gd name="T65" fmla="*/ 3320 h 1738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8630"/>
                  <a:gd name="T100" fmla="*/ 0 h 17382"/>
                  <a:gd name="T101" fmla="*/ 8630 w 8630"/>
                  <a:gd name="T102" fmla="*/ 17382 h 17382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8630" h="17382">
                    <a:moveTo>
                      <a:pt x="8594" y="3320"/>
                    </a:moveTo>
                    <a:lnTo>
                      <a:pt x="8596" y="3320"/>
                    </a:lnTo>
                    <a:cubicBezTo>
                      <a:pt x="8614" y="3320"/>
                      <a:pt x="8629" y="3335"/>
                      <a:pt x="8629" y="3353"/>
                    </a:cubicBezTo>
                    <a:lnTo>
                      <a:pt x="8629" y="4419"/>
                    </a:lnTo>
                    <a:cubicBezTo>
                      <a:pt x="8629" y="4438"/>
                      <a:pt x="8614" y="4452"/>
                      <a:pt x="8596" y="4452"/>
                    </a:cubicBezTo>
                    <a:lnTo>
                      <a:pt x="8594" y="4452"/>
                    </a:lnTo>
                    <a:lnTo>
                      <a:pt x="8594" y="16371"/>
                    </a:lnTo>
                    <a:cubicBezTo>
                      <a:pt x="8594" y="16928"/>
                      <a:pt x="8141" y="17381"/>
                      <a:pt x="7584" y="17381"/>
                    </a:cubicBezTo>
                    <a:lnTo>
                      <a:pt x="1043" y="17381"/>
                    </a:lnTo>
                    <a:cubicBezTo>
                      <a:pt x="487" y="17381"/>
                      <a:pt x="33" y="16928"/>
                      <a:pt x="33" y="16371"/>
                    </a:cubicBezTo>
                    <a:lnTo>
                      <a:pt x="33" y="5859"/>
                    </a:lnTo>
                    <a:cubicBezTo>
                      <a:pt x="15" y="5859"/>
                      <a:pt x="0" y="5844"/>
                      <a:pt x="0" y="5826"/>
                    </a:cubicBezTo>
                    <a:lnTo>
                      <a:pt x="0" y="4760"/>
                    </a:lnTo>
                    <a:cubicBezTo>
                      <a:pt x="0" y="4741"/>
                      <a:pt x="15" y="4727"/>
                      <a:pt x="33" y="4727"/>
                    </a:cubicBezTo>
                    <a:lnTo>
                      <a:pt x="33" y="4452"/>
                    </a:lnTo>
                    <a:cubicBezTo>
                      <a:pt x="15" y="4452"/>
                      <a:pt x="0" y="4438"/>
                      <a:pt x="0" y="4419"/>
                    </a:cubicBezTo>
                    <a:lnTo>
                      <a:pt x="0" y="3353"/>
                    </a:lnTo>
                    <a:cubicBezTo>
                      <a:pt x="0" y="3335"/>
                      <a:pt x="15" y="3320"/>
                      <a:pt x="33" y="3320"/>
                    </a:cubicBezTo>
                    <a:lnTo>
                      <a:pt x="33" y="2704"/>
                    </a:lnTo>
                    <a:cubicBezTo>
                      <a:pt x="15" y="2704"/>
                      <a:pt x="0" y="2690"/>
                      <a:pt x="0" y="2672"/>
                    </a:cubicBezTo>
                    <a:lnTo>
                      <a:pt x="0" y="2075"/>
                    </a:lnTo>
                    <a:cubicBezTo>
                      <a:pt x="0" y="2057"/>
                      <a:pt x="15" y="2042"/>
                      <a:pt x="33" y="2042"/>
                    </a:cubicBezTo>
                    <a:lnTo>
                      <a:pt x="33" y="1010"/>
                    </a:lnTo>
                    <a:cubicBezTo>
                      <a:pt x="33" y="453"/>
                      <a:pt x="487" y="0"/>
                      <a:pt x="1043" y="0"/>
                    </a:cubicBezTo>
                    <a:lnTo>
                      <a:pt x="7584" y="0"/>
                    </a:lnTo>
                    <a:cubicBezTo>
                      <a:pt x="8141" y="0"/>
                      <a:pt x="8594" y="453"/>
                      <a:pt x="8594" y="1010"/>
                    </a:cubicBezTo>
                    <a:lnTo>
                      <a:pt x="8594" y="3320"/>
                    </a:ln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35" name="îSlïḑè"/>
              <p:cNvSpPr/>
              <p:nvPr/>
            </p:nvSpPr>
            <p:spPr bwMode="auto">
              <a:xfrm flipH="1">
                <a:off x="4418088" y="2385527"/>
                <a:ext cx="471612" cy="45719"/>
              </a:xfrm>
              <a:custGeom>
                <a:avLst/>
                <a:gdLst>
                  <a:gd name="T0" fmla="*/ 1143 w 1209"/>
                  <a:gd name="T1" fmla="*/ 129 h 130"/>
                  <a:gd name="T2" fmla="*/ 64 w 1209"/>
                  <a:gd name="T3" fmla="*/ 129 h 130"/>
                  <a:gd name="T4" fmla="*/ 0 w 1209"/>
                  <a:gd name="T5" fmla="*/ 65 h 130"/>
                  <a:gd name="T6" fmla="*/ 64 w 1209"/>
                  <a:gd name="T7" fmla="*/ 0 h 130"/>
                  <a:gd name="T8" fmla="*/ 1143 w 1209"/>
                  <a:gd name="T9" fmla="*/ 0 h 130"/>
                  <a:gd name="T10" fmla="*/ 1208 w 1209"/>
                  <a:gd name="T11" fmla="*/ 65 h 130"/>
                  <a:gd name="T12" fmla="*/ 1143 w 1209"/>
                  <a:gd name="T13" fmla="*/ 129 h 13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209"/>
                  <a:gd name="T22" fmla="*/ 0 h 130"/>
                  <a:gd name="T23" fmla="*/ 1209 w 1209"/>
                  <a:gd name="T24" fmla="*/ 130 h 13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209" h="130">
                    <a:moveTo>
                      <a:pt x="1143" y="129"/>
                    </a:moveTo>
                    <a:lnTo>
                      <a:pt x="64" y="129"/>
                    </a:lnTo>
                    <a:cubicBezTo>
                      <a:pt x="29" y="129"/>
                      <a:pt x="0" y="100"/>
                      <a:pt x="0" y="65"/>
                    </a:cubicBezTo>
                    <a:cubicBezTo>
                      <a:pt x="0" y="29"/>
                      <a:pt x="29" y="0"/>
                      <a:pt x="64" y="0"/>
                    </a:cubicBezTo>
                    <a:lnTo>
                      <a:pt x="1143" y="0"/>
                    </a:lnTo>
                    <a:cubicBezTo>
                      <a:pt x="1179" y="0"/>
                      <a:pt x="1208" y="29"/>
                      <a:pt x="1208" y="65"/>
                    </a:cubicBezTo>
                    <a:cubicBezTo>
                      <a:pt x="1208" y="100"/>
                      <a:pt x="1179" y="129"/>
                      <a:pt x="1143" y="12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</p:grpSp>
        <p:pic>
          <p:nvPicPr>
            <p:cNvPr id="3" name="图片 2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34809" y="2256434"/>
              <a:ext cx="1557567" cy="3011065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</p:grpSp>
      <p:pic>
        <p:nvPicPr>
          <p:cNvPr id="2" name="图片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7918" y="2269466"/>
            <a:ext cx="1559089" cy="301400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7181" y="2271425"/>
            <a:ext cx="1564291" cy="299607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089764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内容占位符 2"/>
          <p:cNvSpPr txBox="1"/>
          <p:nvPr/>
        </p:nvSpPr>
        <p:spPr>
          <a:xfrm>
            <a:off x="576000" y="1080215"/>
            <a:ext cx="10728066" cy="936103"/>
          </a:xfrm>
          <a:prstGeom prst="rect">
            <a:avLst/>
          </a:prstGeom>
        </p:spPr>
        <p:txBody>
          <a:bodyPr/>
          <a:lstStyle>
            <a:lvl1pPr marL="0" indent="0" algn="l" defTabSz="863600" rtl="0" eaLnBrk="1" latinLnBrk="0" hangingPunct="1">
              <a:lnSpc>
                <a:spcPct val="120000"/>
              </a:lnSpc>
              <a:spcBef>
                <a:spcPts val="945"/>
              </a:spcBef>
              <a:buFont typeface="Arial" panose="020B0604020202020204" pitchFamily="34" charset="0"/>
              <a:buNone/>
              <a:defRPr sz="1200" kern="1200">
                <a:solidFill>
                  <a:srgbClr val="50555A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431800" indent="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None/>
              <a:defRPr sz="2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1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19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437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8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86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04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22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Massive technical resources </a:t>
            </a:r>
            <a:r>
              <a:rPr lang="en-US" altLang="zh-CN" sz="18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(technical documents, products specifications, operation videos, troubleshooting guidance…)  can be reached with clicks. </a:t>
            </a:r>
          </a:p>
        </p:txBody>
      </p:sp>
      <p:sp>
        <p:nvSpPr>
          <p:cNvPr id="45" name="文本框 44">
            <a:hlinkClick r:id="rId2"/>
          </p:cNvPr>
          <p:cNvSpPr txBox="1"/>
          <p:nvPr/>
        </p:nvSpPr>
        <p:spPr>
          <a:xfrm>
            <a:off x="566941" y="5692627"/>
            <a:ext cx="105599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SzPct val="25000"/>
            </a:pPr>
            <a:r>
              <a:rPr lang="en-US" altLang="zh-CN" sz="1200" u="sng" dirty="0">
                <a:solidFill>
                  <a:srgbClr val="FF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hlinkClick r:id="rId2"/>
              </a:rPr>
              <a:t>https://www.ruijienetworks.com/rita</a:t>
            </a:r>
            <a:endParaRPr lang="en-US" altLang="zh-CN" sz="1200" u="sng" dirty="0">
              <a:solidFill>
                <a:srgbClr val="FF0000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grpSp>
        <p:nvGrpSpPr>
          <p:cNvPr id="17" name="组合 16"/>
          <p:cNvGrpSpPr/>
          <p:nvPr/>
        </p:nvGrpSpPr>
        <p:grpSpPr>
          <a:xfrm>
            <a:off x="728120" y="1877819"/>
            <a:ext cx="10398724" cy="3814808"/>
            <a:chOff x="41246" y="1881290"/>
            <a:chExt cx="11190812" cy="3949836"/>
          </a:xfrm>
        </p:grpSpPr>
        <p:pic>
          <p:nvPicPr>
            <p:cNvPr id="15" name="图片 1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79656" y="1881290"/>
              <a:ext cx="6501282" cy="3949836"/>
            </a:xfrm>
            <a:prstGeom prst="rect">
              <a:avLst/>
            </a:prstGeom>
          </p:spPr>
        </p:pic>
        <p:sp>
          <p:nvSpPr>
            <p:cNvPr id="47" name="矩形 46"/>
            <p:cNvSpPr/>
            <p:nvPr/>
          </p:nvSpPr>
          <p:spPr>
            <a:xfrm>
              <a:off x="6741503" y="2121835"/>
              <a:ext cx="2312027" cy="177790"/>
            </a:xfrm>
            <a:prstGeom prst="rect">
              <a:avLst/>
            </a:prstGeom>
            <a:noFill/>
            <a:ln w="19050">
              <a:solidFill>
                <a:srgbClr val="4E5865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48" name="矩形 47"/>
            <p:cNvSpPr/>
            <p:nvPr/>
          </p:nvSpPr>
          <p:spPr>
            <a:xfrm>
              <a:off x="6726473" y="2360043"/>
              <a:ext cx="2342085" cy="3015339"/>
            </a:xfrm>
            <a:prstGeom prst="rect">
              <a:avLst/>
            </a:prstGeom>
            <a:noFill/>
            <a:ln w="19050">
              <a:solidFill>
                <a:srgbClr val="4E5865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49" name="矩形 48"/>
            <p:cNvSpPr/>
            <p:nvPr/>
          </p:nvSpPr>
          <p:spPr>
            <a:xfrm>
              <a:off x="2587872" y="2706637"/>
              <a:ext cx="3387602" cy="1555933"/>
            </a:xfrm>
            <a:prstGeom prst="rect">
              <a:avLst/>
            </a:prstGeom>
            <a:noFill/>
            <a:ln w="19050">
              <a:solidFill>
                <a:srgbClr val="4E5865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50" name="矩形 49"/>
            <p:cNvSpPr/>
            <p:nvPr/>
          </p:nvSpPr>
          <p:spPr>
            <a:xfrm>
              <a:off x="2401414" y="5052695"/>
              <a:ext cx="2079153" cy="250804"/>
            </a:xfrm>
            <a:prstGeom prst="rect">
              <a:avLst/>
            </a:prstGeom>
            <a:noFill/>
            <a:ln w="19050">
              <a:solidFill>
                <a:srgbClr val="4E5865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51" name="圆角矩形 50"/>
            <p:cNvSpPr/>
            <p:nvPr/>
          </p:nvSpPr>
          <p:spPr>
            <a:xfrm>
              <a:off x="132954" y="2474941"/>
              <a:ext cx="2069222" cy="821514"/>
            </a:xfrm>
            <a:prstGeom prst="roundRect">
              <a:avLst>
                <a:gd name="adj" fmla="val 8793"/>
              </a:avLst>
            </a:prstGeom>
            <a:noFill/>
            <a:ln>
              <a:solidFill>
                <a:srgbClr val="4E586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71755"/>
              <a:r>
                <a:rPr lang="en-US" altLang="zh-CN" sz="1200" dirty="0">
                  <a:solidFill>
                    <a:srgbClr val="4E5865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Simple clicks to find answers more precisely</a:t>
              </a:r>
            </a:p>
          </p:txBody>
        </p:sp>
        <p:sp>
          <p:nvSpPr>
            <p:cNvPr id="52" name="圆角矩形 51"/>
            <p:cNvSpPr/>
            <p:nvPr/>
          </p:nvSpPr>
          <p:spPr>
            <a:xfrm>
              <a:off x="137841" y="4553978"/>
              <a:ext cx="2069222" cy="939180"/>
            </a:xfrm>
            <a:prstGeom prst="roundRect">
              <a:avLst>
                <a:gd name="adj" fmla="val 8793"/>
              </a:avLst>
            </a:prstGeom>
            <a:noFill/>
            <a:ln>
              <a:solidFill>
                <a:srgbClr val="4E586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71755"/>
              <a:r>
                <a:rPr lang="en-US" altLang="zh-CN" sz="1200" dirty="0">
                  <a:solidFill>
                    <a:srgbClr val="4E5865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Customized tags related with most frequent questions</a:t>
              </a:r>
            </a:p>
          </p:txBody>
        </p:sp>
        <p:cxnSp>
          <p:nvCxnSpPr>
            <p:cNvPr id="53" name="直接连接符 52"/>
            <p:cNvCxnSpPr>
              <a:stCxn id="50" idx="1"/>
            </p:cNvCxnSpPr>
            <p:nvPr/>
          </p:nvCxnSpPr>
          <p:spPr>
            <a:xfrm flipH="1">
              <a:off x="2207062" y="5178097"/>
              <a:ext cx="194352" cy="1"/>
            </a:xfrm>
            <a:prstGeom prst="line">
              <a:avLst/>
            </a:prstGeom>
            <a:ln w="12700">
              <a:solidFill>
                <a:srgbClr val="4E58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直接连接符 53"/>
            <p:cNvCxnSpPr>
              <a:stCxn id="51" idx="3"/>
            </p:cNvCxnSpPr>
            <p:nvPr/>
          </p:nvCxnSpPr>
          <p:spPr>
            <a:xfrm>
              <a:off x="2202176" y="2885698"/>
              <a:ext cx="388706" cy="1"/>
            </a:xfrm>
            <a:prstGeom prst="line">
              <a:avLst/>
            </a:prstGeom>
            <a:ln w="12700">
              <a:solidFill>
                <a:srgbClr val="4E58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圆角矩形 54"/>
            <p:cNvSpPr/>
            <p:nvPr/>
          </p:nvSpPr>
          <p:spPr>
            <a:xfrm>
              <a:off x="9363199" y="2330406"/>
              <a:ext cx="1868859" cy="761161"/>
            </a:xfrm>
            <a:prstGeom prst="roundRect">
              <a:avLst>
                <a:gd name="adj" fmla="val 8793"/>
              </a:avLst>
            </a:prstGeom>
            <a:noFill/>
            <a:ln>
              <a:solidFill>
                <a:srgbClr val="4E586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71755"/>
              <a:r>
                <a:rPr lang="en-US" altLang="zh-CN" sz="1200" dirty="0">
                  <a:solidFill>
                    <a:srgbClr val="4E5865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Browse multi-platform with less time consuming</a:t>
              </a:r>
            </a:p>
          </p:txBody>
        </p:sp>
        <p:cxnSp>
          <p:nvCxnSpPr>
            <p:cNvPr id="56" name="直接连接符 55"/>
            <p:cNvCxnSpPr>
              <a:stCxn id="55" idx="1"/>
            </p:cNvCxnSpPr>
            <p:nvPr/>
          </p:nvCxnSpPr>
          <p:spPr>
            <a:xfrm flipH="1" flipV="1">
              <a:off x="9053531" y="2706637"/>
              <a:ext cx="309668" cy="4350"/>
            </a:xfrm>
            <a:prstGeom prst="line">
              <a:avLst/>
            </a:prstGeom>
            <a:ln w="12700">
              <a:solidFill>
                <a:srgbClr val="4E58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圆角矩形 56"/>
            <p:cNvSpPr/>
            <p:nvPr/>
          </p:nvSpPr>
          <p:spPr>
            <a:xfrm>
              <a:off x="9363199" y="4370059"/>
              <a:ext cx="1687232" cy="742236"/>
            </a:xfrm>
            <a:prstGeom prst="roundRect">
              <a:avLst>
                <a:gd name="adj" fmla="val 8793"/>
              </a:avLst>
            </a:prstGeom>
            <a:noFill/>
            <a:ln>
              <a:solidFill>
                <a:srgbClr val="4E586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71755"/>
              <a:r>
                <a:rPr lang="en-US" altLang="zh-CN" sz="1200" dirty="0">
                  <a:solidFill>
                    <a:srgbClr val="4E5865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More diverse display content</a:t>
              </a:r>
            </a:p>
          </p:txBody>
        </p:sp>
        <p:sp>
          <p:nvSpPr>
            <p:cNvPr id="59" name="椭圆 58"/>
            <p:cNvSpPr/>
            <p:nvPr/>
          </p:nvSpPr>
          <p:spPr>
            <a:xfrm>
              <a:off x="41246" y="2356323"/>
              <a:ext cx="259054" cy="259054"/>
            </a:xfrm>
            <a:prstGeom prst="ellipse">
              <a:avLst/>
            </a:prstGeom>
            <a:solidFill>
              <a:srgbClr val="4E58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1</a:t>
              </a:r>
            </a:p>
          </p:txBody>
        </p:sp>
        <p:sp>
          <p:nvSpPr>
            <p:cNvPr id="60" name="椭圆 59"/>
            <p:cNvSpPr/>
            <p:nvPr/>
          </p:nvSpPr>
          <p:spPr>
            <a:xfrm>
              <a:off x="43554" y="4424451"/>
              <a:ext cx="259054" cy="259054"/>
            </a:xfrm>
            <a:prstGeom prst="ellipse">
              <a:avLst/>
            </a:prstGeom>
            <a:solidFill>
              <a:srgbClr val="4E58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2</a:t>
              </a:r>
            </a:p>
          </p:txBody>
        </p:sp>
        <p:sp>
          <p:nvSpPr>
            <p:cNvPr id="61" name="椭圆 60"/>
            <p:cNvSpPr/>
            <p:nvPr/>
          </p:nvSpPr>
          <p:spPr>
            <a:xfrm>
              <a:off x="9233674" y="2220412"/>
              <a:ext cx="259054" cy="259054"/>
            </a:xfrm>
            <a:prstGeom prst="ellipse">
              <a:avLst/>
            </a:prstGeom>
            <a:solidFill>
              <a:srgbClr val="4E58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3</a:t>
              </a:r>
            </a:p>
          </p:txBody>
        </p:sp>
        <p:sp>
          <p:nvSpPr>
            <p:cNvPr id="62" name="椭圆 61"/>
            <p:cNvSpPr/>
            <p:nvPr/>
          </p:nvSpPr>
          <p:spPr>
            <a:xfrm>
              <a:off x="9241151" y="4262570"/>
              <a:ext cx="259054" cy="259054"/>
            </a:xfrm>
            <a:prstGeom prst="ellipse">
              <a:avLst/>
            </a:prstGeom>
            <a:solidFill>
              <a:srgbClr val="4E58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4</a:t>
              </a:r>
            </a:p>
          </p:txBody>
        </p:sp>
        <p:cxnSp>
          <p:nvCxnSpPr>
            <p:cNvPr id="65" name="直接连接符 64"/>
            <p:cNvCxnSpPr/>
            <p:nvPr/>
          </p:nvCxnSpPr>
          <p:spPr>
            <a:xfrm flipH="1" flipV="1">
              <a:off x="9053531" y="4727473"/>
              <a:ext cx="309668" cy="4350"/>
            </a:xfrm>
            <a:prstGeom prst="line">
              <a:avLst/>
            </a:prstGeom>
            <a:ln w="12700">
              <a:solidFill>
                <a:srgbClr val="4E586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标题 3"/>
          <p:cNvSpPr txBox="1">
            <a:spLocks/>
          </p:cNvSpPr>
          <p:nvPr/>
        </p:nvSpPr>
        <p:spPr>
          <a:xfrm>
            <a:off x="576734" y="402155"/>
            <a:ext cx="10942166" cy="605684"/>
          </a:xfrm>
          <a:prstGeom prst="rect">
            <a:avLst/>
          </a:prstGeom>
        </p:spPr>
        <p:txBody>
          <a:bodyPr anchor="ctr"/>
          <a:lstStyle>
            <a:lvl1pPr algn="l" defTabSz="8636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rgbClr val="043CC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lang="en-US" altLang="zh-CN" dirty="0" err="1">
                <a:solidFill>
                  <a:schemeClr val="tx1"/>
                </a:solidFill>
                <a:latin typeface="Noto Sans Black" panose="020B0A02040504020204"/>
              </a:rPr>
              <a:t>Ruijie</a:t>
            </a:r>
            <a:r>
              <a:rPr lang="en-US" altLang="zh-CN" dirty="0">
                <a:solidFill>
                  <a:schemeClr val="tx1"/>
                </a:solidFill>
                <a:latin typeface="Noto Sans Black" panose="020B0A02040504020204"/>
              </a:rPr>
              <a:t> Service Platform: </a:t>
            </a:r>
            <a:r>
              <a:rPr lang="en-US" altLang="zh-CN" sz="2500" dirty="0">
                <a:latin typeface="Noto Sans Black" panose="020B0A02040504020204"/>
              </a:rPr>
              <a:t>RITA-</a:t>
            </a:r>
            <a:r>
              <a:rPr lang="en-US" altLang="zh-CN" sz="2500" dirty="0" err="1">
                <a:latin typeface="Noto Sans Black" panose="020B0A02040504020204"/>
              </a:rPr>
              <a:t>Ruijie</a:t>
            </a:r>
            <a:r>
              <a:rPr lang="en-US" altLang="zh-CN" sz="2500" dirty="0">
                <a:latin typeface="Noto Sans Black" panose="020B0A02040504020204"/>
              </a:rPr>
              <a:t> Intelligent Tech Assistan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ïṧḻíḓe"/>
          <p:cNvSpPr/>
          <p:nvPr/>
        </p:nvSpPr>
        <p:spPr bwMode="auto">
          <a:xfrm>
            <a:off x="6523169" y="2178167"/>
            <a:ext cx="2810585" cy="1700823"/>
          </a:xfrm>
          <a:custGeom>
            <a:avLst/>
            <a:gdLst>
              <a:gd name="T0" fmla="*/ 18999 w 19000"/>
              <a:gd name="T1" fmla="*/ 11499 h 11500"/>
              <a:gd name="T2" fmla="*/ 18999 w 19000"/>
              <a:gd name="T3" fmla="*/ 11499 h 11500"/>
              <a:gd name="T4" fmla="*/ 18999 w 19000"/>
              <a:gd name="T5" fmla="*/ 630 h 11500"/>
              <a:gd name="T6" fmla="*/ 18369 w 19000"/>
              <a:gd name="T7" fmla="*/ 0 h 11500"/>
              <a:gd name="T8" fmla="*/ 630 w 19000"/>
              <a:gd name="T9" fmla="*/ 0 h 11500"/>
              <a:gd name="T10" fmla="*/ 0 w 19000"/>
              <a:gd name="T11" fmla="*/ 630 h 11500"/>
              <a:gd name="T12" fmla="*/ 0 w 19000"/>
              <a:gd name="T13" fmla="*/ 11499 h 11500"/>
              <a:gd name="T14" fmla="*/ 18999 w 19000"/>
              <a:gd name="T15" fmla="*/ 11499 h 11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9000" h="11500">
                <a:moveTo>
                  <a:pt x="18999" y="11499"/>
                </a:moveTo>
                <a:lnTo>
                  <a:pt x="18999" y="11499"/>
                </a:lnTo>
                <a:cubicBezTo>
                  <a:pt x="18999" y="630"/>
                  <a:pt x="18999" y="630"/>
                  <a:pt x="18999" y="630"/>
                </a:cubicBezTo>
                <a:cubicBezTo>
                  <a:pt x="18999" y="287"/>
                  <a:pt x="18712" y="0"/>
                  <a:pt x="18369" y="0"/>
                </a:cubicBezTo>
                <a:cubicBezTo>
                  <a:pt x="630" y="0"/>
                  <a:pt x="630" y="0"/>
                  <a:pt x="630" y="0"/>
                </a:cubicBezTo>
                <a:cubicBezTo>
                  <a:pt x="278" y="0"/>
                  <a:pt x="0" y="287"/>
                  <a:pt x="0" y="630"/>
                </a:cubicBezTo>
                <a:cubicBezTo>
                  <a:pt x="0" y="11499"/>
                  <a:pt x="0" y="11499"/>
                  <a:pt x="0" y="11499"/>
                </a:cubicBezTo>
                <a:lnTo>
                  <a:pt x="18999" y="11499"/>
                </a:lnTo>
              </a:path>
            </a:pathLst>
          </a:custGeom>
          <a:solidFill>
            <a:schemeClr val="tx1">
              <a:lumMod val="95000"/>
              <a:lumOff val="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15189" tIns="57595" rIns="115189" bIns="57595" anchor="ctr">
            <a:normAutofit/>
          </a:bodyPr>
          <a:lstStyle/>
          <a:p>
            <a:pPr defTabSz="1151890"/>
            <a:endParaRPr lang="en-US" sz="2265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  <a:sym typeface="Arial" panose="020B0604020202020204" pitchFamily="34" charset="0"/>
            </a:endParaRPr>
          </a:p>
        </p:txBody>
      </p:sp>
      <p:sp>
        <p:nvSpPr>
          <p:cNvPr id="121" name="íŝḷiḋé"/>
          <p:cNvSpPr/>
          <p:nvPr/>
        </p:nvSpPr>
        <p:spPr bwMode="auto">
          <a:xfrm>
            <a:off x="7419374" y="4086036"/>
            <a:ext cx="1032527" cy="445763"/>
          </a:xfrm>
          <a:custGeom>
            <a:avLst/>
            <a:gdLst>
              <a:gd name="T0" fmla="*/ 6924 w 6981"/>
              <a:gd name="T1" fmla="*/ 2138 h 2315"/>
              <a:gd name="T2" fmla="*/ 6924 w 6981"/>
              <a:gd name="T3" fmla="*/ 2138 h 2315"/>
              <a:gd name="T4" fmla="*/ 6249 w 6981"/>
              <a:gd name="T5" fmla="*/ 2000 h 2315"/>
              <a:gd name="T6" fmla="*/ 6036 w 6981"/>
              <a:gd name="T7" fmla="*/ 1712 h 2315"/>
              <a:gd name="T8" fmla="*/ 5897 w 6981"/>
              <a:gd name="T9" fmla="*/ 0 h 2315"/>
              <a:gd name="T10" fmla="*/ 1074 w 6981"/>
              <a:gd name="T11" fmla="*/ 0 h 2315"/>
              <a:gd name="T12" fmla="*/ 944 w 6981"/>
              <a:gd name="T13" fmla="*/ 1712 h 2315"/>
              <a:gd name="T14" fmla="*/ 731 w 6981"/>
              <a:gd name="T15" fmla="*/ 2000 h 2315"/>
              <a:gd name="T16" fmla="*/ 37 w 6981"/>
              <a:gd name="T17" fmla="*/ 2148 h 2315"/>
              <a:gd name="T18" fmla="*/ 0 w 6981"/>
              <a:gd name="T19" fmla="*/ 2185 h 2315"/>
              <a:gd name="T20" fmla="*/ 0 w 6981"/>
              <a:gd name="T21" fmla="*/ 2314 h 2315"/>
              <a:gd name="T22" fmla="*/ 18 w 6981"/>
              <a:gd name="T23" fmla="*/ 2314 h 2315"/>
              <a:gd name="T24" fmla="*/ 6961 w 6981"/>
              <a:gd name="T25" fmla="*/ 2314 h 2315"/>
              <a:gd name="T26" fmla="*/ 6980 w 6981"/>
              <a:gd name="T27" fmla="*/ 2314 h 2315"/>
              <a:gd name="T28" fmla="*/ 6980 w 6981"/>
              <a:gd name="T29" fmla="*/ 2185 h 2315"/>
              <a:gd name="T30" fmla="*/ 6924 w 6981"/>
              <a:gd name="T31" fmla="*/ 2138 h 2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6981" h="2315">
                <a:moveTo>
                  <a:pt x="6924" y="2138"/>
                </a:moveTo>
                <a:lnTo>
                  <a:pt x="6924" y="2138"/>
                </a:lnTo>
                <a:cubicBezTo>
                  <a:pt x="6795" y="2111"/>
                  <a:pt x="6443" y="2037"/>
                  <a:pt x="6249" y="2000"/>
                </a:cubicBezTo>
                <a:cubicBezTo>
                  <a:pt x="6008" y="1944"/>
                  <a:pt x="6036" y="1712"/>
                  <a:pt x="6036" y="1712"/>
                </a:cubicBezTo>
                <a:cubicBezTo>
                  <a:pt x="5897" y="0"/>
                  <a:pt x="5897" y="0"/>
                  <a:pt x="5897" y="0"/>
                </a:cubicBezTo>
                <a:cubicBezTo>
                  <a:pt x="1074" y="0"/>
                  <a:pt x="1074" y="0"/>
                  <a:pt x="1074" y="0"/>
                </a:cubicBezTo>
                <a:cubicBezTo>
                  <a:pt x="944" y="1712"/>
                  <a:pt x="944" y="1712"/>
                  <a:pt x="944" y="1712"/>
                </a:cubicBezTo>
                <a:cubicBezTo>
                  <a:pt x="944" y="1712"/>
                  <a:pt x="972" y="1944"/>
                  <a:pt x="731" y="2000"/>
                </a:cubicBezTo>
                <a:cubicBezTo>
                  <a:pt x="527" y="2046"/>
                  <a:pt x="148" y="2120"/>
                  <a:pt x="37" y="2148"/>
                </a:cubicBezTo>
                <a:cubicBezTo>
                  <a:pt x="0" y="2157"/>
                  <a:pt x="0" y="2185"/>
                  <a:pt x="0" y="2185"/>
                </a:cubicBezTo>
                <a:cubicBezTo>
                  <a:pt x="0" y="2314"/>
                  <a:pt x="0" y="2314"/>
                  <a:pt x="0" y="2314"/>
                </a:cubicBezTo>
                <a:cubicBezTo>
                  <a:pt x="18" y="2314"/>
                  <a:pt x="18" y="2314"/>
                  <a:pt x="18" y="2314"/>
                </a:cubicBezTo>
                <a:cubicBezTo>
                  <a:pt x="6961" y="2314"/>
                  <a:pt x="6961" y="2314"/>
                  <a:pt x="6961" y="2314"/>
                </a:cubicBezTo>
                <a:cubicBezTo>
                  <a:pt x="6980" y="2314"/>
                  <a:pt x="6980" y="2314"/>
                  <a:pt x="6980" y="2314"/>
                </a:cubicBezTo>
                <a:cubicBezTo>
                  <a:pt x="6980" y="2185"/>
                  <a:pt x="6980" y="2185"/>
                  <a:pt x="6980" y="2185"/>
                </a:cubicBezTo>
                <a:cubicBezTo>
                  <a:pt x="6980" y="2185"/>
                  <a:pt x="6980" y="2157"/>
                  <a:pt x="6924" y="2138"/>
                </a:cubicBezTo>
              </a:path>
            </a:pathLst>
          </a:custGeom>
          <a:solidFill>
            <a:srgbClr val="EAEAEA"/>
          </a:solidFill>
          <a:ln>
            <a:noFill/>
          </a:ln>
          <a:effectLst/>
        </p:spPr>
        <p:txBody>
          <a:bodyPr wrap="square" lIns="115189" tIns="57595" rIns="115189" bIns="57595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sz="2265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  <a:sym typeface="Arial" panose="020B0604020202020204" pitchFamily="34" charset="0"/>
            </a:endParaRPr>
          </a:p>
        </p:txBody>
      </p:sp>
      <p:sp>
        <p:nvSpPr>
          <p:cNvPr id="122" name="ïṧ1îḋé"/>
          <p:cNvSpPr/>
          <p:nvPr/>
        </p:nvSpPr>
        <p:spPr bwMode="auto">
          <a:xfrm>
            <a:off x="6523169" y="3878991"/>
            <a:ext cx="2810585" cy="207045"/>
          </a:xfrm>
          <a:custGeom>
            <a:avLst/>
            <a:gdLst>
              <a:gd name="T0" fmla="*/ 0 w 19000"/>
              <a:gd name="T1" fmla="*/ 0 h 2103"/>
              <a:gd name="T2" fmla="*/ 0 w 19000"/>
              <a:gd name="T3" fmla="*/ 0 h 2103"/>
              <a:gd name="T4" fmla="*/ 0 w 19000"/>
              <a:gd name="T5" fmla="*/ 1472 h 2103"/>
              <a:gd name="T6" fmla="*/ 630 w 19000"/>
              <a:gd name="T7" fmla="*/ 2102 h 2103"/>
              <a:gd name="T8" fmla="*/ 18369 w 19000"/>
              <a:gd name="T9" fmla="*/ 2102 h 2103"/>
              <a:gd name="T10" fmla="*/ 18999 w 19000"/>
              <a:gd name="T11" fmla="*/ 1472 h 2103"/>
              <a:gd name="T12" fmla="*/ 18999 w 19000"/>
              <a:gd name="T13" fmla="*/ 0 h 2103"/>
              <a:gd name="T14" fmla="*/ 0 w 19000"/>
              <a:gd name="T15" fmla="*/ 0 h 21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9000" h="2103">
                <a:moveTo>
                  <a:pt x="0" y="0"/>
                </a:moveTo>
                <a:lnTo>
                  <a:pt x="0" y="0"/>
                </a:lnTo>
                <a:cubicBezTo>
                  <a:pt x="0" y="1472"/>
                  <a:pt x="0" y="1472"/>
                  <a:pt x="0" y="1472"/>
                </a:cubicBezTo>
                <a:cubicBezTo>
                  <a:pt x="0" y="1824"/>
                  <a:pt x="278" y="2102"/>
                  <a:pt x="630" y="2102"/>
                </a:cubicBezTo>
                <a:cubicBezTo>
                  <a:pt x="18369" y="2102"/>
                  <a:pt x="18369" y="2102"/>
                  <a:pt x="18369" y="2102"/>
                </a:cubicBezTo>
                <a:cubicBezTo>
                  <a:pt x="18712" y="2102"/>
                  <a:pt x="18999" y="1824"/>
                  <a:pt x="18999" y="1472"/>
                </a:cubicBezTo>
                <a:cubicBezTo>
                  <a:pt x="18999" y="0"/>
                  <a:pt x="18999" y="0"/>
                  <a:pt x="18999" y="0"/>
                </a:cubicBezTo>
                <a:lnTo>
                  <a:pt x="0" y="0"/>
                </a:lnTo>
              </a:path>
            </a:pathLst>
          </a:custGeom>
          <a:solidFill>
            <a:srgbClr val="F4F4F4"/>
          </a:solidFill>
          <a:ln>
            <a:noFill/>
          </a:ln>
          <a:effectLst/>
        </p:spPr>
        <p:txBody>
          <a:bodyPr wrap="square" lIns="115189" tIns="57595" rIns="115189" bIns="57595" anchor="ctr">
            <a:normAutofit fontScale="3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sz="2265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  <a:sym typeface="Arial" panose="020B0604020202020204" pitchFamily="34" charset="0"/>
            </a:endParaRPr>
          </a:p>
        </p:txBody>
      </p:sp>
      <p:sp>
        <p:nvSpPr>
          <p:cNvPr id="123" name="isľîde"/>
          <p:cNvSpPr/>
          <p:nvPr/>
        </p:nvSpPr>
        <p:spPr bwMode="auto">
          <a:xfrm>
            <a:off x="7419373" y="4507018"/>
            <a:ext cx="1032527" cy="24782"/>
          </a:xfrm>
          <a:custGeom>
            <a:avLst/>
            <a:gdLst>
              <a:gd name="T0" fmla="*/ 6943 w 6981"/>
              <a:gd name="T1" fmla="*/ 0 h 167"/>
              <a:gd name="T2" fmla="*/ 6943 w 6981"/>
              <a:gd name="T3" fmla="*/ 0 h 167"/>
              <a:gd name="T4" fmla="*/ 27 w 6981"/>
              <a:gd name="T5" fmla="*/ 0 h 167"/>
              <a:gd name="T6" fmla="*/ 0 w 6981"/>
              <a:gd name="T7" fmla="*/ 37 h 167"/>
              <a:gd name="T8" fmla="*/ 0 w 6981"/>
              <a:gd name="T9" fmla="*/ 166 h 167"/>
              <a:gd name="T10" fmla="*/ 18 w 6981"/>
              <a:gd name="T11" fmla="*/ 166 h 167"/>
              <a:gd name="T12" fmla="*/ 6961 w 6981"/>
              <a:gd name="T13" fmla="*/ 166 h 167"/>
              <a:gd name="T14" fmla="*/ 6980 w 6981"/>
              <a:gd name="T15" fmla="*/ 166 h 167"/>
              <a:gd name="T16" fmla="*/ 6980 w 6981"/>
              <a:gd name="T17" fmla="*/ 37 h 167"/>
              <a:gd name="T18" fmla="*/ 6943 w 6981"/>
              <a:gd name="T19" fmla="*/ 0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981" h="167">
                <a:moveTo>
                  <a:pt x="6943" y="0"/>
                </a:moveTo>
                <a:lnTo>
                  <a:pt x="6943" y="0"/>
                </a:lnTo>
                <a:cubicBezTo>
                  <a:pt x="27" y="0"/>
                  <a:pt x="27" y="0"/>
                  <a:pt x="27" y="0"/>
                </a:cubicBezTo>
                <a:cubicBezTo>
                  <a:pt x="0" y="9"/>
                  <a:pt x="0" y="37"/>
                  <a:pt x="0" y="37"/>
                </a:cubicBezTo>
                <a:cubicBezTo>
                  <a:pt x="0" y="166"/>
                  <a:pt x="0" y="166"/>
                  <a:pt x="0" y="166"/>
                </a:cubicBezTo>
                <a:cubicBezTo>
                  <a:pt x="18" y="166"/>
                  <a:pt x="18" y="166"/>
                  <a:pt x="18" y="166"/>
                </a:cubicBezTo>
                <a:cubicBezTo>
                  <a:pt x="6961" y="166"/>
                  <a:pt x="6961" y="166"/>
                  <a:pt x="6961" y="166"/>
                </a:cubicBezTo>
                <a:cubicBezTo>
                  <a:pt x="6980" y="166"/>
                  <a:pt x="6980" y="166"/>
                  <a:pt x="6980" y="166"/>
                </a:cubicBezTo>
                <a:cubicBezTo>
                  <a:pt x="6980" y="37"/>
                  <a:pt x="6980" y="37"/>
                  <a:pt x="6980" y="37"/>
                </a:cubicBezTo>
                <a:cubicBezTo>
                  <a:pt x="6980" y="37"/>
                  <a:pt x="6980" y="18"/>
                  <a:pt x="6943" y="0"/>
                </a:cubicBezTo>
              </a:path>
            </a:pathLst>
          </a:custGeom>
          <a:solidFill>
            <a:srgbClr val="D1D2D1"/>
          </a:solidFill>
          <a:ln>
            <a:noFill/>
          </a:ln>
          <a:effectLst/>
        </p:spPr>
        <p:txBody>
          <a:bodyPr wrap="square" lIns="115189" tIns="57595" rIns="115189" bIns="57595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sz="2265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  <a:sym typeface="Arial" panose="020B0604020202020204" pitchFamily="34" charset="0"/>
            </a:endParaRPr>
          </a:p>
        </p:txBody>
      </p:sp>
      <p:pic>
        <p:nvPicPr>
          <p:cNvPr id="65" name="图片 6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3823" y="2241159"/>
            <a:ext cx="2683428" cy="1575197"/>
          </a:xfrm>
          <a:prstGeom prst="rect">
            <a:avLst/>
          </a:prstGeom>
        </p:spPr>
      </p:pic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76734" y="402155"/>
            <a:ext cx="10727332" cy="605684"/>
          </a:xfrm>
        </p:spPr>
        <p:txBody>
          <a:bodyPr/>
          <a:lstStyle/>
          <a:p>
            <a:r>
              <a:rPr lang="en-US" altLang="zh-CN" dirty="0" err="1">
                <a:solidFill>
                  <a:schemeClr val="tx1"/>
                </a:solidFill>
                <a:latin typeface="Noto Sans Black" panose="020B0A02040504020204"/>
              </a:rPr>
              <a:t>Ruijie</a:t>
            </a:r>
            <a:r>
              <a:rPr lang="en-US" altLang="zh-CN" dirty="0">
                <a:solidFill>
                  <a:schemeClr val="tx1"/>
                </a:solidFill>
                <a:latin typeface="Noto Sans Black" panose="020B0A02040504020204"/>
              </a:rPr>
              <a:t> Service Platform: </a:t>
            </a:r>
            <a:r>
              <a:rPr lang="en-US" altLang="zh-CN" dirty="0">
                <a:latin typeface="Noto Sans Black" panose="020B0A02040504020204"/>
              </a:rPr>
              <a:t>Live Chat Support</a:t>
            </a:r>
          </a:p>
        </p:txBody>
      </p:sp>
      <p:sp>
        <p:nvSpPr>
          <p:cNvPr id="110" name="内容占位符 2"/>
          <p:cNvSpPr txBox="1"/>
          <p:nvPr/>
        </p:nvSpPr>
        <p:spPr>
          <a:xfrm>
            <a:off x="576000" y="1080215"/>
            <a:ext cx="10728066" cy="936103"/>
          </a:xfrm>
          <a:prstGeom prst="rect">
            <a:avLst/>
          </a:prstGeom>
        </p:spPr>
        <p:txBody>
          <a:bodyPr/>
          <a:lstStyle>
            <a:lvl1pPr marL="0" indent="0" algn="l" defTabSz="863600" rtl="0" eaLnBrk="1" latinLnBrk="0" hangingPunct="1">
              <a:lnSpc>
                <a:spcPct val="120000"/>
              </a:lnSpc>
              <a:spcBef>
                <a:spcPts val="945"/>
              </a:spcBef>
              <a:buFont typeface="Arial" panose="020B0604020202020204" pitchFamily="34" charset="0"/>
              <a:buNone/>
              <a:defRPr sz="1200" kern="1200">
                <a:solidFill>
                  <a:srgbClr val="50555A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431800" indent="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None/>
              <a:defRPr sz="2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1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19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437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8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86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04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22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 err="1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uijie</a:t>
            </a:r>
            <a:r>
              <a:rPr lang="en-US" altLang="zh-CN" sz="18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provides </a:t>
            </a:r>
            <a:r>
              <a:rPr lang="en-US" altLang="zh-CN" sz="18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online manual service </a:t>
            </a:r>
            <a:r>
              <a:rPr lang="en-US" altLang="zh-CN" sz="18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on RITA Live Chat. You can access it through </a:t>
            </a:r>
            <a:r>
              <a:rPr lang="en-US" altLang="zh-CN" sz="18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multiple channels</a:t>
            </a:r>
            <a:r>
              <a:rPr lang="en-US" altLang="zh-CN" sz="18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(Web, </a:t>
            </a:r>
            <a:r>
              <a:rPr lang="en-US" altLang="zh-CN" sz="1800" dirty="0" err="1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WeChat</a:t>
            </a:r>
            <a:r>
              <a:rPr lang="en-US" altLang="zh-CN" sz="18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, WhatsApp, LINE, Facebook and Messenger). Live Chat supports </a:t>
            </a:r>
            <a:r>
              <a:rPr lang="en-US" altLang="zh-CN" sz="18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over 130 languages</a:t>
            </a:r>
            <a:r>
              <a:rPr lang="en-US" altLang="zh-CN" sz="18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, helping you communicate with </a:t>
            </a:r>
            <a:r>
              <a:rPr lang="en-US" altLang="zh-CN" sz="1800" dirty="0" err="1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uijie</a:t>
            </a:r>
            <a:r>
              <a:rPr lang="en-US" altLang="zh-CN" sz="18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engineer directly.</a:t>
            </a:r>
          </a:p>
        </p:txBody>
      </p:sp>
      <p:sp>
        <p:nvSpPr>
          <p:cNvPr id="100" name="文本框 99">
            <a:hlinkClick r:id="rId3"/>
          </p:cNvPr>
          <p:cNvSpPr txBox="1"/>
          <p:nvPr/>
        </p:nvSpPr>
        <p:spPr>
          <a:xfrm>
            <a:off x="860498" y="5832375"/>
            <a:ext cx="105599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SzPct val="25000"/>
            </a:pPr>
            <a:r>
              <a:rPr lang="en-US" altLang="zh-CN" sz="1200" u="sng" dirty="0">
                <a:solidFill>
                  <a:srgbClr val="FF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hlinkClick r:id="rId3"/>
              </a:rPr>
              <a:t>https://www.ruijienetworks.com/rita</a:t>
            </a:r>
            <a:endParaRPr lang="en-US" altLang="zh-CN" sz="1200" u="sng" dirty="0">
              <a:solidFill>
                <a:srgbClr val="FF0000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grpSp>
        <p:nvGrpSpPr>
          <p:cNvPr id="101" name="组合 100"/>
          <p:cNvGrpSpPr/>
          <p:nvPr/>
        </p:nvGrpSpPr>
        <p:grpSpPr>
          <a:xfrm>
            <a:off x="5026291" y="4637564"/>
            <a:ext cx="6264807" cy="1049051"/>
            <a:chOff x="4857736" y="4650182"/>
            <a:chExt cx="7074056" cy="1184561"/>
          </a:xfrm>
        </p:grpSpPr>
        <p:grpSp>
          <p:nvGrpSpPr>
            <p:cNvPr id="102" name="组合 101"/>
            <p:cNvGrpSpPr/>
            <p:nvPr/>
          </p:nvGrpSpPr>
          <p:grpSpPr>
            <a:xfrm>
              <a:off x="4857736" y="4697211"/>
              <a:ext cx="902780" cy="1137532"/>
              <a:chOff x="304442" y="5049299"/>
              <a:chExt cx="928866" cy="1170657"/>
            </a:xfrm>
          </p:grpSpPr>
          <p:pic>
            <p:nvPicPr>
              <p:cNvPr id="116" name="图片 115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04442" y="5049299"/>
                <a:ext cx="890068" cy="890068"/>
              </a:xfrm>
              <a:prstGeom prst="rect">
                <a:avLst/>
              </a:prstGeom>
            </p:spPr>
          </p:pic>
          <p:sp>
            <p:nvSpPr>
              <p:cNvPr id="117" name="圆角矩形 116"/>
              <p:cNvSpPr/>
              <p:nvPr/>
            </p:nvSpPr>
            <p:spPr>
              <a:xfrm>
                <a:off x="319083" y="6010753"/>
                <a:ext cx="914225" cy="209203"/>
              </a:xfrm>
              <a:prstGeom prst="roundRect">
                <a:avLst/>
              </a:prstGeom>
              <a:solidFill>
                <a:srgbClr val="5F96C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003">
                <a:schemeClr val="dk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zh-CN" sz="800" b="1" dirty="0"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Website</a:t>
                </a:r>
                <a:endParaRPr kumimoji="1" lang="en-US" sz="800" b="1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</p:grpSp>
        <p:grpSp>
          <p:nvGrpSpPr>
            <p:cNvPr id="103" name="组合 102"/>
            <p:cNvGrpSpPr/>
            <p:nvPr/>
          </p:nvGrpSpPr>
          <p:grpSpPr>
            <a:xfrm>
              <a:off x="6153126" y="4683372"/>
              <a:ext cx="865012" cy="1137532"/>
              <a:chOff x="1364371" y="5049299"/>
              <a:chExt cx="890007" cy="1170657"/>
            </a:xfrm>
          </p:grpSpPr>
          <p:pic>
            <p:nvPicPr>
              <p:cNvPr id="114" name="图片 113"/>
              <p:cNvPicPr>
                <a:picLocks noChangeAspect="1"/>
              </p:cNvPicPr>
              <p:nvPr/>
            </p:nvPicPr>
            <p:blipFill rotWithShape="1"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719" t="2870" r="2438" b="2287"/>
              <a:stretch>
                <a:fillRect/>
              </a:stretch>
            </p:blipFill>
            <p:spPr>
              <a:xfrm>
                <a:off x="1364371" y="5049299"/>
                <a:ext cx="888669" cy="888669"/>
              </a:xfrm>
              <a:prstGeom prst="rect">
                <a:avLst/>
              </a:prstGeom>
            </p:spPr>
          </p:pic>
          <p:sp>
            <p:nvSpPr>
              <p:cNvPr id="115" name="圆角矩形 114"/>
              <p:cNvSpPr/>
              <p:nvPr/>
            </p:nvSpPr>
            <p:spPr>
              <a:xfrm>
                <a:off x="1381923" y="6010753"/>
                <a:ext cx="872455" cy="209203"/>
              </a:xfrm>
              <a:prstGeom prst="roundRect">
                <a:avLst/>
              </a:prstGeom>
              <a:solidFill>
                <a:srgbClr val="5F96C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003">
                <a:schemeClr val="dk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zh-CN" sz="800" b="1" dirty="0" err="1"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WeChat</a:t>
                </a:r>
                <a:endParaRPr kumimoji="1" lang="en-US" sz="800" b="1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</p:grpSp>
        <p:grpSp>
          <p:nvGrpSpPr>
            <p:cNvPr id="104" name="组合 103"/>
            <p:cNvGrpSpPr/>
            <p:nvPr/>
          </p:nvGrpSpPr>
          <p:grpSpPr>
            <a:xfrm>
              <a:off x="7375526" y="4695645"/>
              <a:ext cx="899919" cy="1137532"/>
              <a:chOff x="2328538" y="5049299"/>
              <a:chExt cx="925922" cy="1170657"/>
            </a:xfrm>
          </p:grpSpPr>
          <p:pic>
            <p:nvPicPr>
              <p:cNvPr id="112" name="图片 111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378786" y="5049299"/>
                <a:ext cx="855011" cy="855013"/>
              </a:xfrm>
              <a:prstGeom prst="rect">
                <a:avLst/>
              </a:prstGeom>
            </p:spPr>
          </p:pic>
          <p:sp>
            <p:nvSpPr>
              <p:cNvPr id="113" name="圆角矩形 112"/>
              <p:cNvSpPr/>
              <p:nvPr/>
            </p:nvSpPr>
            <p:spPr>
              <a:xfrm>
                <a:off x="2328538" y="6010753"/>
                <a:ext cx="925922" cy="209203"/>
              </a:xfrm>
              <a:prstGeom prst="roundRect">
                <a:avLst/>
              </a:prstGeom>
              <a:solidFill>
                <a:srgbClr val="5F96C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003">
                <a:schemeClr val="dk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zh-CN" sz="800" b="1" dirty="0"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WhatsApp</a:t>
                </a:r>
                <a:endParaRPr kumimoji="1" lang="en-US" sz="800" b="1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</p:grpSp>
        <p:grpSp>
          <p:nvGrpSpPr>
            <p:cNvPr id="105" name="组合 104"/>
            <p:cNvGrpSpPr/>
            <p:nvPr/>
          </p:nvGrpSpPr>
          <p:grpSpPr>
            <a:xfrm>
              <a:off x="11018307" y="4650182"/>
              <a:ext cx="913485" cy="1120727"/>
              <a:chOff x="1332375" y="6341165"/>
              <a:chExt cx="939881" cy="1153363"/>
            </a:xfrm>
          </p:grpSpPr>
          <p:pic>
            <p:nvPicPr>
              <p:cNvPr id="109" name="图片 108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332375" y="6341165"/>
                <a:ext cx="877113" cy="877113"/>
              </a:xfrm>
              <a:prstGeom prst="rect">
                <a:avLst/>
              </a:prstGeom>
            </p:spPr>
          </p:pic>
          <p:sp>
            <p:nvSpPr>
              <p:cNvPr id="111" name="圆角矩形 110"/>
              <p:cNvSpPr/>
              <p:nvPr/>
            </p:nvSpPr>
            <p:spPr>
              <a:xfrm>
                <a:off x="1332375" y="7285326"/>
                <a:ext cx="939881" cy="209202"/>
              </a:xfrm>
              <a:prstGeom prst="roundRect">
                <a:avLst/>
              </a:prstGeom>
              <a:solidFill>
                <a:srgbClr val="5F96C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003">
                <a:schemeClr val="dk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zh-CN" sz="800" b="1" dirty="0"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Messenger</a:t>
                </a:r>
                <a:endParaRPr kumimoji="1" lang="en-US" sz="800" b="1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</p:grpSp>
        <p:grpSp>
          <p:nvGrpSpPr>
            <p:cNvPr id="106" name="组合 105"/>
            <p:cNvGrpSpPr/>
            <p:nvPr/>
          </p:nvGrpSpPr>
          <p:grpSpPr>
            <a:xfrm>
              <a:off x="9820235" y="4656180"/>
              <a:ext cx="852481" cy="1146891"/>
              <a:chOff x="2757805" y="6341165"/>
              <a:chExt cx="877114" cy="1180289"/>
            </a:xfrm>
          </p:grpSpPr>
          <p:pic>
            <p:nvPicPr>
              <p:cNvPr id="107" name="图片 106"/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757805" y="6341165"/>
                <a:ext cx="877114" cy="877114"/>
              </a:xfrm>
              <a:prstGeom prst="rect">
                <a:avLst/>
              </a:prstGeom>
            </p:spPr>
          </p:pic>
          <p:sp>
            <p:nvSpPr>
              <p:cNvPr id="108" name="圆角矩形 107"/>
              <p:cNvSpPr/>
              <p:nvPr/>
            </p:nvSpPr>
            <p:spPr>
              <a:xfrm>
                <a:off x="2757805" y="7312252"/>
                <a:ext cx="877114" cy="209202"/>
              </a:xfrm>
              <a:prstGeom prst="roundRect">
                <a:avLst/>
              </a:prstGeom>
              <a:solidFill>
                <a:srgbClr val="5F96C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003">
                <a:schemeClr val="dk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en-US" altLang="zh-CN" sz="800" b="1" dirty="0"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Facebook</a:t>
                </a:r>
                <a:endParaRPr kumimoji="1" lang="en-US" sz="800" b="1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</p:grpSp>
      </p:grpSp>
      <p:sp>
        <p:nvSpPr>
          <p:cNvPr id="119" name="íśľîďè"/>
          <p:cNvSpPr/>
          <p:nvPr/>
        </p:nvSpPr>
        <p:spPr bwMode="auto">
          <a:xfrm>
            <a:off x="7419374" y="4523321"/>
            <a:ext cx="1032527" cy="14999"/>
          </a:xfrm>
          <a:custGeom>
            <a:avLst/>
            <a:gdLst>
              <a:gd name="T0" fmla="*/ 6776 w 6981"/>
              <a:gd name="T1" fmla="*/ 0 h 103"/>
              <a:gd name="T2" fmla="*/ 6776 w 6981"/>
              <a:gd name="T3" fmla="*/ 0 h 103"/>
              <a:gd name="T4" fmla="*/ 203 w 6981"/>
              <a:gd name="T5" fmla="*/ 0 h 103"/>
              <a:gd name="T6" fmla="*/ 0 w 6981"/>
              <a:gd name="T7" fmla="*/ 46 h 103"/>
              <a:gd name="T8" fmla="*/ 0 w 6981"/>
              <a:gd name="T9" fmla="*/ 55 h 103"/>
              <a:gd name="T10" fmla="*/ 203 w 6981"/>
              <a:gd name="T11" fmla="*/ 102 h 103"/>
              <a:gd name="T12" fmla="*/ 6776 w 6981"/>
              <a:gd name="T13" fmla="*/ 102 h 103"/>
              <a:gd name="T14" fmla="*/ 6980 w 6981"/>
              <a:gd name="T15" fmla="*/ 55 h 103"/>
              <a:gd name="T16" fmla="*/ 6980 w 6981"/>
              <a:gd name="T17" fmla="*/ 46 h 103"/>
              <a:gd name="T18" fmla="*/ 6776 w 6981"/>
              <a:gd name="T19" fmla="*/ 0 h 1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981" h="103">
                <a:moveTo>
                  <a:pt x="6776" y="0"/>
                </a:moveTo>
                <a:lnTo>
                  <a:pt x="6776" y="0"/>
                </a:lnTo>
                <a:cubicBezTo>
                  <a:pt x="203" y="0"/>
                  <a:pt x="203" y="0"/>
                  <a:pt x="203" y="0"/>
                </a:cubicBezTo>
                <a:cubicBezTo>
                  <a:pt x="92" y="0"/>
                  <a:pt x="0" y="18"/>
                  <a:pt x="0" y="46"/>
                </a:cubicBezTo>
                <a:cubicBezTo>
                  <a:pt x="0" y="55"/>
                  <a:pt x="0" y="55"/>
                  <a:pt x="0" y="55"/>
                </a:cubicBezTo>
                <a:cubicBezTo>
                  <a:pt x="0" y="83"/>
                  <a:pt x="92" y="102"/>
                  <a:pt x="203" y="102"/>
                </a:cubicBezTo>
                <a:cubicBezTo>
                  <a:pt x="6776" y="102"/>
                  <a:pt x="6776" y="102"/>
                  <a:pt x="6776" y="102"/>
                </a:cubicBezTo>
                <a:cubicBezTo>
                  <a:pt x="6887" y="102"/>
                  <a:pt x="6980" y="83"/>
                  <a:pt x="6980" y="55"/>
                </a:cubicBezTo>
                <a:cubicBezTo>
                  <a:pt x="6980" y="46"/>
                  <a:pt x="6980" y="46"/>
                  <a:pt x="6980" y="46"/>
                </a:cubicBezTo>
                <a:cubicBezTo>
                  <a:pt x="6980" y="18"/>
                  <a:pt x="6887" y="0"/>
                  <a:pt x="6776" y="0"/>
                </a:cubicBezTo>
              </a:path>
            </a:pathLst>
          </a:custGeom>
          <a:solidFill>
            <a:srgbClr val="BCBDC0"/>
          </a:solidFill>
          <a:ln>
            <a:noFill/>
          </a:ln>
          <a:effectLst/>
        </p:spPr>
        <p:txBody>
          <a:bodyPr wrap="square" lIns="115189" tIns="57595" rIns="115189" bIns="57595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sz="2265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  <a:sym typeface="Arial" panose="020B0604020202020204" pitchFamily="34" charset="0"/>
            </a:endParaRPr>
          </a:p>
        </p:txBody>
      </p:sp>
      <p:sp>
        <p:nvSpPr>
          <p:cNvPr id="124" name="íṧļîḍê"/>
          <p:cNvSpPr/>
          <p:nvPr/>
        </p:nvSpPr>
        <p:spPr bwMode="auto">
          <a:xfrm>
            <a:off x="6159295" y="3115267"/>
            <a:ext cx="14198" cy="14560"/>
          </a:xfrm>
          <a:custGeom>
            <a:avLst/>
            <a:gdLst>
              <a:gd name="T0" fmla="*/ 86 w 174"/>
              <a:gd name="T1" fmla="*/ 174 h 175"/>
              <a:gd name="T2" fmla="*/ 0 w 174"/>
              <a:gd name="T3" fmla="*/ 87 h 175"/>
              <a:gd name="T4" fmla="*/ 86 w 174"/>
              <a:gd name="T5" fmla="*/ 0 h 175"/>
              <a:gd name="T6" fmla="*/ 173 w 174"/>
              <a:gd name="T7" fmla="*/ 87 h 175"/>
              <a:gd name="T8" fmla="*/ 86 w 174"/>
              <a:gd name="T9" fmla="*/ 174 h 17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74"/>
              <a:gd name="T16" fmla="*/ 0 h 175"/>
              <a:gd name="T17" fmla="*/ 174 w 174"/>
              <a:gd name="T18" fmla="*/ 175 h 17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74" h="175">
                <a:moveTo>
                  <a:pt x="86" y="174"/>
                </a:moveTo>
                <a:cubicBezTo>
                  <a:pt x="39" y="174"/>
                  <a:pt x="0" y="135"/>
                  <a:pt x="0" y="87"/>
                </a:cubicBezTo>
                <a:cubicBezTo>
                  <a:pt x="0" y="39"/>
                  <a:pt x="39" y="0"/>
                  <a:pt x="86" y="0"/>
                </a:cubicBezTo>
                <a:cubicBezTo>
                  <a:pt x="134" y="0"/>
                  <a:pt x="173" y="39"/>
                  <a:pt x="173" y="87"/>
                </a:cubicBezTo>
                <a:cubicBezTo>
                  <a:pt x="173" y="135"/>
                  <a:pt x="134" y="174"/>
                  <a:pt x="86" y="174"/>
                </a:cubicBezTo>
              </a:path>
            </a:pathLst>
          </a:custGeom>
          <a:solidFill>
            <a:srgbClr val="FFFFFF"/>
          </a:solidFill>
          <a:ln>
            <a:noFill/>
          </a:ln>
        </p:spPr>
        <p:txBody>
          <a:bodyPr wrap="square" lIns="115189" tIns="57595" rIns="115189" bIns="57595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sz="2265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  <a:sym typeface="Arial" panose="020B0604020202020204" pitchFamily="34" charset="0"/>
            </a:endParaRPr>
          </a:p>
        </p:txBody>
      </p:sp>
      <p:sp>
        <p:nvSpPr>
          <p:cNvPr id="125" name="îşľidé"/>
          <p:cNvSpPr/>
          <p:nvPr/>
        </p:nvSpPr>
        <p:spPr bwMode="auto">
          <a:xfrm>
            <a:off x="6137087" y="4454077"/>
            <a:ext cx="29489" cy="30213"/>
          </a:xfrm>
          <a:custGeom>
            <a:avLst/>
            <a:gdLst>
              <a:gd name="T0" fmla="*/ 73 w 355"/>
              <a:gd name="T1" fmla="*/ 30 h 367"/>
              <a:gd name="T2" fmla="*/ 30 w 355"/>
              <a:gd name="T3" fmla="*/ 73 h 367"/>
              <a:gd name="T4" fmla="*/ 30 w 355"/>
              <a:gd name="T5" fmla="*/ 293 h 367"/>
              <a:gd name="T6" fmla="*/ 73 w 355"/>
              <a:gd name="T7" fmla="*/ 335 h 367"/>
              <a:gd name="T8" fmla="*/ 281 w 355"/>
              <a:gd name="T9" fmla="*/ 335 h 367"/>
              <a:gd name="T10" fmla="*/ 324 w 355"/>
              <a:gd name="T11" fmla="*/ 293 h 367"/>
              <a:gd name="T12" fmla="*/ 324 w 355"/>
              <a:gd name="T13" fmla="*/ 73 h 367"/>
              <a:gd name="T14" fmla="*/ 281 w 355"/>
              <a:gd name="T15" fmla="*/ 30 h 367"/>
              <a:gd name="T16" fmla="*/ 73 w 355"/>
              <a:gd name="T17" fmla="*/ 30 h 367"/>
              <a:gd name="T18" fmla="*/ 73 w 355"/>
              <a:gd name="T19" fmla="*/ 366 h 367"/>
              <a:gd name="T20" fmla="*/ 0 w 355"/>
              <a:gd name="T21" fmla="*/ 293 h 367"/>
              <a:gd name="T22" fmla="*/ 0 w 355"/>
              <a:gd name="T23" fmla="*/ 73 h 367"/>
              <a:gd name="T24" fmla="*/ 73 w 355"/>
              <a:gd name="T25" fmla="*/ 0 h 367"/>
              <a:gd name="T26" fmla="*/ 281 w 355"/>
              <a:gd name="T27" fmla="*/ 0 h 367"/>
              <a:gd name="T28" fmla="*/ 354 w 355"/>
              <a:gd name="T29" fmla="*/ 73 h 367"/>
              <a:gd name="T30" fmla="*/ 354 w 355"/>
              <a:gd name="T31" fmla="*/ 293 h 367"/>
              <a:gd name="T32" fmla="*/ 281 w 355"/>
              <a:gd name="T33" fmla="*/ 366 h 367"/>
              <a:gd name="T34" fmla="*/ 73 w 355"/>
              <a:gd name="T35" fmla="*/ 366 h 367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355"/>
              <a:gd name="T55" fmla="*/ 0 h 367"/>
              <a:gd name="T56" fmla="*/ 355 w 355"/>
              <a:gd name="T57" fmla="*/ 367 h 367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355" h="367">
                <a:moveTo>
                  <a:pt x="73" y="30"/>
                </a:moveTo>
                <a:cubicBezTo>
                  <a:pt x="49" y="30"/>
                  <a:pt x="30" y="50"/>
                  <a:pt x="30" y="73"/>
                </a:cubicBezTo>
                <a:lnTo>
                  <a:pt x="30" y="293"/>
                </a:lnTo>
                <a:cubicBezTo>
                  <a:pt x="30" y="316"/>
                  <a:pt x="49" y="335"/>
                  <a:pt x="73" y="335"/>
                </a:cubicBezTo>
                <a:lnTo>
                  <a:pt x="281" y="335"/>
                </a:lnTo>
                <a:cubicBezTo>
                  <a:pt x="305" y="335"/>
                  <a:pt x="324" y="316"/>
                  <a:pt x="324" y="293"/>
                </a:cubicBezTo>
                <a:lnTo>
                  <a:pt x="324" y="73"/>
                </a:lnTo>
                <a:cubicBezTo>
                  <a:pt x="324" y="50"/>
                  <a:pt x="305" y="30"/>
                  <a:pt x="281" y="30"/>
                </a:cubicBezTo>
                <a:lnTo>
                  <a:pt x="73" y="30"/>
                </a:lnTo>
                <a:close/>
                <a:moveTo>
                  <a:pt x="73" y="366"/>
                </a:moveTo>
                <a:cubicBezTo>
                  <a:pt x="33" y="366"/>
                  <a:pt x="0" y="333"/>
                  <a:pt x="0" y="293"/>
                </a:cubicBezTo>
                <a:lnTo>
                  <a:pt x="0" y="73"/>
                </a:lnTo>
                <a:cubicBezTo>
                  <a:pt x="0" y="33"/>
                  <a:pt x="33" y="0"/>
                  <a:pt x="73" y="0"/>
                </a:cubicBezTo>
                <a:lnTo>
                  <a:pt x="281" y="0"/>
                </a:lnTo>
                <a:cubicBezTo>
                  <a:pt x="322" y="0"/>
                  <a:pt x="354" y="33"/>
                  <a:pt x="354" y="73"/>
                </a:cubicBezTo>
                <a:lnTo>
                  <a:pt x="354" y="293"/>
                </a:lnTo>
                <a:cubicBezTo>
                  <a:pt x="354" y="333"/>
                  <a:pt x="322" y="366"/>
                  <a:pt x="281" y="366"/>
                </a:cubicBezTo>
                <a:lnTo>
                  <a:pt x="73" y="366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txBody>
          <a:bodyPr wrap="square" lIns="115189" tIns="57595" rIns="115189" bIns="57595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sz="2265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8" name="组合 127"/>
          <p:cNvGrpSpPr/>
          <p:nvPr/>
        </p:nvGrpSpPr>
        <p:grpSpPr>
          <a:xfrm>
            <a:off x="5271006" y="3080342"/>
            <a:ext cx="996066" cy="1486595"/>
            <a:chOff x="745157" y="2034492"/>
            <a:chExt cx="1248901" cy="1864352"/>
          </a:xfrm>
        </p:grpSpPr>
        <p:sp>
          <p:nvSpPr>
            <p:cNvPr id="149" name="íşliḓe"/>
            <p:cNvSpPr/>
            <p:nvPr/>
          </p:nvSpPr>
          <p:spPr bwMode="auto">
            <a:xfrm>
              <a:off x="745157" y="2034492"/>
              <a:ext cx="1248901" cy="1864352"/>
            </a:xfrm>
            <a:custGeom>
              <a:avLst/>
              <a:gdLst>
                <a:gd name="T0" fmla="*/ 12066 w 12067"/>
                <a:gd name="T1" fmla="*/ 17195 h 18009"/>
                <a:gd name="T2" fmla="*/ 11253 w 12067"/>
                <a:gd name="T3" fmla="*/ 18008 h 18009"/>
                <a:gd name="T4" fmla="*/ 813 w 12067"/>
                <a:gd name="T5" fmla="*/ 18008 h 18009"/>
                <a:gd name="T6" fmla="*/ 0 w 12067"/>
                <a:gd name="T7" fmla="*/ 17195 h 18009"/>
                <a:gd name="T8" fmla="*/ 0 w 12067"/>
                <a:gd name="T9" fmla="*/ 813 h 18009"/>
                <a:gd name="T10" fmla="*/ 813 w 12067"/>
                <a:gd name="T11" fmla="*/ 0 h 18009"/>
                <a:gd name="T12" fmla="*/ 11253 w 12067"/>
                <a:gd name="T13" fmla="*/ 0 h 18009"/>
                <a:gd name="T14" fmla="*/ 12066 w 12067"/>
                <a:gd name="T15" fmla="*/ 813 h 18009"/>
                <a:gd name="T16" fmla="*/ 12066 w 12067"/>
                <a:gd name="T17" fmla="*/ 17195 h 1800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067"/>
                <a:gd name="T28" fmla="*/ 0 h 18009"/>
                <a:gd name="T29" fmla="*/ 12067 w 12067"/>
                <a:gd name="T30" fmla="*/ 18009 h 1800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067" h="18009">
                  <a:moveTo>
                    <a:pt x="12066" y="17195"/>
                  </a:moveTo>
                  <a:cubicBezTo>
                    <a:pt x="12066" y="17644"/>
                    <a:pt x="11702" y="18008"/>
                    <a:pt x="11253" y="18008"/>
                  </a:cubicBezTo>
                  <a:lnTo>
                    <a:pt x="813" y="18008"/>
                  </a:lnTo>
                  <a:cubicBezTo>
                    <a:pt x="364" y="18008"/>
                    <a:pt x="0" y="17644"/>
                    <a:pt x="0" y="17195"/>
                  </a:cubicBezTo>
                  <a:lnTo>
                    <a:pt x="0" y="813"/>
                  </a:lnTo>
                  <a:cubicBezTo>
                    <a:pt x="0" y="364"/>
                    <a:pt x="364" y="0"/>
                    <a:pt x="813" y="0"/>
                  </a:cubicBezTo>
                  <a:lnTo>
                    <a:pt x="11253" y="0"/>
                  </a:lnTo>
                  <a:cubicBezTo>
                    <a:pt x="11702" y="0"/>
                    <a:pt x="12066" y="364"/>
                    <a:pt x="12066" y="813"/>
                  </a:cubicBezTo>
                  <a:lnTo>
                    <a:pt x="12066" y="17195"/>
                  </a:lnTo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  <a:effectLst/>
          </p:spPr>
          <p:txBody>
            <a:bodyPr wrap="square" lIns="115189" tIns="57595" rIns="115189" bIns="57595" anchor="ctr">
              <a:normAutofit/>
            </a:bodyPr>
            <a:lstStyle/>
            <a:p>
              <a:pPr defTabSz="1151890"/>
              <a:endParaRPr lang="en-US" sz="2265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0" name="îşlïḍè"/>
            <p:cNvSpPr/>
            <p:nvPr/>
          </p:nvSpPr>
          <p:spPr bwMode="auto">
            <a:xfrm>
              <a:off x="1316887" y="3764404"/>
              <a:ext cx="95859" cy="95865"/>
            </a:xfrm>
            <a:custGeom>
              <a:avLst/>
              <a:gdLst>
                <a:gd name="T0" fmla="*/ 463 w 925"/>
                <a:gd name="T1" fmla="*/ 925 h 926"/>
                <a:gd name="T2" fmla="*/ 0 w 925"/>
                <a:gd name="T3" fmla="*/ 463 h 926"/>
                <a:gd name="T4" fmla="*/ 463 w 925"/>
                <a:gd name="T5" fmla="*/ 0 h 926"/>
                <a:gd name="T6" fmla="*/ 924 w 925"/>
                <a:gd name="T7" fmla="*/ 463 h 926"/>
                <a:gd name="T8" fmla="*/ 463 w 925"/>
                <a:gd name="T9" fmla="*/ 925 h 92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25"/>
                <a:gd name="T16" fmla="*/ 0 h 926"/>
                <a:gd name="T17" fmla="*/ 925 w 925"/>
                <a:gd name="T18" fmla="*/ 926 h 92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25" h="926">
                  <a:moveTo>
                    <a:pt x="463" y="925"/>
                  </a:moveTo>
                  <a:cubicBezTo>
                    <a:pt x="207" y="925"/>
                    <a:pt x="0" y="718"/>
                    <a:pt x="0" y="463"/>
                  </a:cubicBezTo>
                  <a:cubicBezTo>
                    <a:pt x="0" y="207"/>
                    <a:pt x="207" y="0"/>
                    <a:pt x="463" y="0"/>
                  </a:cubicBezTo>
                  <a:cubicBezTo>
                    <a:pt x="717" y="0"/>
                    <a:pt x="924" y="207"/>
                    <a:pt x="924" y="463"/>
                  </a:cubicBezTo>
                  <a:cubicBezTo>
                    <a:pt x="924" y="718"/>
                    <a:pt x="717" y="925"/>
                    <a:pt x="463" y="92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wrap="square" lIns="115189" tIns="57595" rIns="115189" bIns="57595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 sz="2265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 panose="020B0604020202020204" pitchFamily="34" charset="0"/>
              </a:endParaRPr>
            </a:p>
          </p:txBody>
        </p:sp>
        <p:pic>
          <p:nvPicPr>
            <p:cNvPr id="151" name="图片 150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3873" y="2092960"/>
              <a:ext cx="1153474" cy="1613127"/>
            </a:xfrm>
            <a:prstGeom prst="rect">
              <a:avLst/>
            </a:prstGeom>
          </p:spPr>
        </p:pic>
      </p:grpSp>
      <p:grpSp>
        <p:nvGrpSpPr>
          <p:cNvPr id="130" name="组合 129"/>
          <p:cNvGrpSpPr/>
          <p:nvPr/>
        </p:nvGrpSpPr>
        <p:grpSpPr>
          <a:xfrm>
            <a:off x="8321666" y="2990088"/>
            <a:ext cx="2989091" cy="1548256"/>
            <a:chOff x="5751601" y="2330749"/>
            <a:chExt cx="3283537" cy="1701143"/>
          </a:xfrm>
        </p:grpSpPr>
        <p:sp>
          <p:nvSpPr>
            <p:cNvPr id="142" name="îŝľîḑe"/>
            <p:cNvSpPr/>
            <p:nvPr/>
          </p:nvSpPr>
          <p:spPr>
            <a:xfrm>
              <a:off x="6092766" y="2338976"/>
              <a:ext cx="2601207" cy="1648721"/>
            </a:xfrm>
            <a:custGeom>
              <a:avLst/>
              <a:gdLst>
                <a:gd name="connsiteX0" fmla="*/ 224028 w 7415784"/>
                <a:gd name="connsiteY0" fmla="*/ 269748 h 4700016"/>
                <a:gd name="connsiteX1" fmla="*/ 224028 w 7415784"/>
                <a:gd name="connsiteY1" fmla="*/ 4430268 h 4700016"/>
                <a:gd name="connsiteX2" fmla="*/ 7191756 w 7415784"/>
                <a:gd name="connsiteY2" fmla="*/ 4430268 h 4700016"/>
                <a:gd name="connsiteX3" fmla="*/ 7191756 w 7415784"/>
                <a:gd name="connsiteY3" fmla="*/ 269748 h 4700016"/>
                <a:gd name="connsiteX4" fmla="*/ 266867 w 7415784"/>
                <a:gd name="connsiteY4" fmla="*/ 0 h 4700016"/>
                <a:gd name="connsiteX5" fmla="*/ 7148917 w 7415784"/>
                <a:gd name="connsiteY5" fmla="*/ 0 h 4700016"/>
                <a:gd name="connsiteX6" fmla="*/ 7415784 w 7415784"/>
                <a:gd name="connsiteY6" fmla="*/ 266867 h 4700016"/>
                <a:gd name="connsiteX7" fmla="*/ 7415784 w 7415784"/>
                <a:gd name="connsiteY7" fmla="*/ 4433149 h 4700016"/>
                <a:gd name="connsiteX8" fmla="*/ 7148917 w 7415784"/>
                <a:gd name="connsiteY8" fmla="*/ 4700016 h 4700016"/>
                <a:gd name="connsiteX9" fmla="*/ 266867 w 7415784"/>
                <a:gd name="connsiteY9" fmla="*/ 4700016 h 4700016"/>
                <a:gd name="connsiteX10" fmla="*/ 0 w 7415784"/>
                <a:gd name="connsiteY10" fmla="*/ 4433149 h 4700016"/>
                <a:gd name="connsiteX11" fmla="*/ 0 w 7415784"/>
                <a:gd name="connsiteY11" fmla="*/ 266867 h 4700016"/>
                <a:gd name="connsiteX12" fmla="*/ 266867 w 7415784"/>
                <a:gd name="connsiteY12" fmla="*/ 0 h 4700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415784" h="4700016">
                  <a:moveTo>
                    <a:pt x="224028" y="269748"/>
                  </a:moveTo>
                  <a:lnTo>
                    <a:pt x="224028" y="4430268"/>
                  </a:lnTo>
                  <a:lnTo>
                    <a:pt x="7191756" y="4430268"/>
                  </a:lnTo>
                  <a:lnTo>
                    <a:pt x="7191756" y="269748"/>
                  </a:lnTo>
                  <a:close/>
                  <a:moveTo>
                    <a:pt x="266867" y="0"/>
                  </a:moveTo>
                  <a:lnTo>
                    <a:pt x="7148917" y="0"/>
                  </a:lnTo>
                  <a:cubicBezTo>
                    <a:pt x="7296304" y="0"/>
                    <a:pt x="7415784" y="119480"/>
                    <a:pt x="7415784" y="266867"/>
                  </a:cubicBezTo>
                  <a:lnTo>
                    <a:pt x="7415784" y="4433149"/>
                  </a:lnTo>
                  <a:cubicBezTo>
                    <a:pt x="7415784" y="4580536"/>
                    <a:pt x="7296304" y="4700016"/>
                    <a:pt x="7148917" y="4700016"/>
                  </a:cubicBezTo>
                  <a:lnTo>
                    <a:pt x="266867" y="4700016"/>
                  </a:lnTo>
                  <a:cubicBezTo>
                    <a:pt x="119480" y="4700016"/>
                    <a:pt x="0" y="4580536"/>
                    <a:pt x="0" y="4433149"/>
                  </a:cubicBezTo>
                  <a:lnTo>
                    <a:pt x="0" y="266867"/>
                  </a:lnTo>
                  <a:cubicBezTo>
                    <a:pt x="0" y="119480"/>
                    <a:pt x="119480" y="0"/>
                    <a:pt x="266867" y="0"/>
                  </a:cubicBezTo>
                  <a:close/>
                </a:path>
              </a:pathLst>
            </a:custGeom>
            <a:solidFill>
              <a:schemeClr val="bg1">
                <a:lumMod val="75000"/>
                <a:lumOff val="2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115189" tIns="57595" rIns="115189" bIns="57595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en-US" sz="1375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3" name="ïşḻîďè"/>
            <p:cNvSpPr/>
            <p:nvPr/>
          </p:nvSpPr>
          <p:spPr>
            <a:xfrm>
              <a:off x="7368111" y="2374589"/>
              <a:ext cx="50516" cy="50519"/>
            </a:xfrm>
            <a:prstGeom prst="ellipse">
              <a:avLst/>
            </a:prstGeom>
            <a:gradFill flip="none" rotWithShape="1">
              <a:gsLst>
                <a:gs pos="17000">
                  <a:schemeClr val="tx1"/>
                </a:gs>
                <a:gs pos="34000">
                  <a:srgbClr val="000000">
                    <a:lumMod val="84000"/>
                    <a:lumOff val="16000"/>
                  </a:srgbClr>
                </a:gs>
                <a:gs pos="100000">
                  <a:schemeClr val="bg1">
                    <a:lumMod val="50000"/>
                    <a:lumOff val="5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115189" tIns="57595" rIns="115189" bIns="57595" rtlCol="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en-US" sz="1375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 panose="020B0604020202020204" pitchFamily="34" charset="0"/>
              </a:endParaRPr>
            </a:p>
          </p:txBody>
        </p:sp>
        <p:grpSp>
          <p:nvGrpSpPr>
            <p:cNvPr id="144" name="iṩľîḋe"/>
            <p:cNvGrpSpPr/>
            <p:nvPr/>
          </p:nvGrpSpPr>
          <p:grpSpPr>
            <a:xfrm>
              <a:off x="5751601" y="3966110"/>
              <a:ext cx="3283537" cy="65782"/>
              <a:chOff x="-1348120" y="5777968"/>
              <a:chExt cx="9361040" cy="187524"/>
            </a:xfrm>
          </p:grpSpPr>
          <p:sp>
            <p:nvSpPr>
              <p:cNvPr id="147" name="îṧ1îḍé"/>
              <p:cNvSpPr/>
              <p:nvPr/>
            </p:nvSpPr>
            <p:spPr>
              <a:xfrm flipV="1">
                <a:off x="-1348120" y="5928916"/>
                <a:ext cx="9361040" cy="36576"/>
              </a:xfrm>
              <a:prstGeom prst="trapezoid">
                <a:avLst>
                  <a:gd name="adj" fmla="val 814192"/>
                </a:avLst>
              </a:prstGeom>
              <a:solidFill>
                <a:srgbClr val="80808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115189" tIns="57595" rIns="115189" bIns="57595" rtlCol="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en-US" sz="1375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48" name="iṡḷîḓe"/>
              <p:cNvSpPr/>
              <p:nvPr/>
            </p:nvSpPr>
            <p:spPr>
              <a:xfrm>
                <a:off x="-1348120" y="5777968"/>
                <a:ext cx="9361040" cy="151090"/>
              </a:xfrm>
              <a:prstGeom prst="rect">
                <a:avLst/>
              </a:prstGeom>
              <a:solidFill>
                <a:srgbClr val="DDDDDD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115189" tIns="57595" rIns="115189" bIns="57595" rtlCol="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en-US" sz="1375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145" name="iṡ1ïde"/>
            <p:cNvSpPr/>
            <p:nvPr/>
          </p:nvSpPr>
          <p:spPr>
            <a:xfrm>
              <a:off x="7806321" y="2330749"/>
              <a:ext cx="887652" cy="1648721"/>
            </a:xfrm>
            <a:custGeom>
              <a:avLst/>
              <a:gdLst>
                <a:gd name="connsiteX0" fmla="*/ 0 w 2530610"/>
                <a:gd name="connsiteY0" fmla="*/ 0 h 4700016"/>
                <a:gd name="connsiteX1" fmla="*/ 2263743 w 2530610"/>
                <a:gd name="connsiteY1" fmla="*/ 0 h 4700016"/>
                <a:gd name="connsiteX2" fmla="*/ 2530610 w 2530610"/>
                <a:gd name="connsiteY2" fmla="*/ 266867 h 4700016"/>
                <a:gd name="connsiteX3" fmla="*/ 2530610 w 2530610"/>
                <a:gd name="connsiteY3" fmla="*/ 4433149 h 4700016"/>
                <a:gd name="connsiteX4" fmla="*/ 2263743 w 2530610"/>
                <a:gd name="connsiteY4" fmla="*/ 4700016 h 4700016"/>
                <a:gd name="connsiteX5" fmla="*/ 1961175 w 2530610"/>
                <a:gd name="connsiteY5" fmla="*/ 4700016 h 4700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30610" h="4700016">
                  <a:moveTo>
                    <a:pt x="0" y="0"/>
                  </a:moveTo>
                  <a:lnTo>
                    <a:pt x="2263743" y="0"/>
                  </a:lnTo>
                  <a:cubicBezTo>
                    <a:pt x="2411130" y="0"/>
                    <a:pt x="2530610" y="119480"/>
                    <a:pt x="2530610" y="266867"/>
                  </a:cubicBezTo>
                  <a:lnTo>
                    <a:pt x="2530610" y="4433149"/>
                  </a:lnTo>
                  <a:cubicBezTo>
                    <a:pt x="2530610" y="4580536"/>
                    <a:pt x="2411130" y="4700016"/>
                    <a:pt x="2263743" y="4700016"/>
                  </a:cubicBezTo>
                  <a:lnTo>
                    <a:pt x="1961175" y="4700016"/>
                  </a:lnTo>
                  <a:close/>
                </a:path>
              </a:pathLst>
            </a:custGeom>
            <a:gradFill>
              <a:gsLst>
                <a:gs pos="0">
                  <a:srgbClr val="FFFFFF">
                    <a:alpha val="30000"/>
                  </a:srgbClr>
                </a:gs>
                <a:gs pos="100000">
                  <a:srgbClr val="FFFFFF">
                    <a:alpha val="0"/>
                  </a:srgbClr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115189" tIns="57595" rIns="115189" bIns="57595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en-US" sz="1375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6" name="îsľiďè"/>
            <p:cNvSpPr/>
            <p:nvPr/>
          </p:nvSpPr>
          <p:spPr>
            <a:xfrm>
              <a:off x="6098898" y="2346185"/>
              <a:ext cx="2588943" cy="1634302"/>
            </a:xfrm>
            <a:custGeom>
              <a:avLst/>
              <a:gdLst>
                <a:gd name="connsiteX0" fmla="*/ 252028 w 7380820"/>
                <a:gd name="connsiteY0" fmla="*/ 295230 h 4658912"/>
                <a:gd name="connsiteX1" fmla="*/ 252028 w 7380820"/>
                <a:gd name="connsiteY1" fmla="*/ 4363682 h 4658912"/>
                <a:gd name="connsiteX2" fmla="*/ 7128792 w 7380820"/>
                <a:gd name="connsiteY2" fmla="*/ 4363682 h 4658912"/>
                <a:gd name="connsiteX3" fmla="*/ 7128792 w 7380820"/>
                <a:gd name="connsiteY3" fmla="*/ 295230 h 4658912"/>
                <a:gd name="connsiteX4" fmla="*/ 264533 w 7380820"/>
                <a:gd name="connsiteY4" fmla="*/ 0 h 4658912"/>
                <a:gd name="connsiteX5" fmla="*/ 7116287 w 7380820"/>
                <a:gd name="connsiteY5" fmla="*/ 0 h 4658912"/>
                <a:gd name="connsiteX6" fmla="*/ 7380820 w 7380820"/>
                <a:gd name="connsiteY6" fmla="*/ 264533 h 4658912"/>
                <a:gd name="connsiteX7" fmla="*/ 7380820 w 7380820"/>
                <a:gd name="connsiteY7" fmla="*/ 4394379 h 4658912"/>
                <a:gd name="connsiteX8" fmla="*/ 7116287 w 7380820"/>
                <a:gd name="connsiteY8" fmla="*/ 4658912 h 4658912"/>
                <a:gd name="connsiteX9" fmla="*/ 264533 w 7380820"/>
                <a:gd name="connsiteY9" fmla="*/ 4658912 h 4658912"/>
                <a:gd name="connsiteX10" fmla="*/ 0 w 7380820"/>
                <a:gd name="connsiteY10" fmla="*/ 4394379 h 4658912"/>
                <a:gd name="connsiteX11" fmla="*/ 0 w 7380820"/>
                <a:gd name="connsiteY11" fmla="*/ 264533 h 4658912"/>
                <a:gd name="connsiteX12" fmla="*/ 264533 w 7380820"/>
                <a:gd name="connsiteY12" fmla="*/ 0 h 4658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380820" h="4658912">
                  <a:moveTo>
                    <a:pt x="252028" y="295230"/>
                  </a:moveTo>
                  <a:lnTo>
                    <a:pt x="252028" y="4363682"/>
                  </a:lnTo>
                  <a:lnTo>
                    <a:pt x="7128792" y="4363682"/>
                  </a:lnTo>
                  <a:lnTo>
                    <a:pt x="7128792" y="295230"/>
                  </a:lnTo>
                  <a:close/>
                  <a:moveTo>
                    <a:pt x="264533" y="0"/>
                  </a:moveTo>
                  <a:lnTo>
                    <a:pt x="7116287" y="0"/>
                  </a:lnTo>
                  <a:cubicBezTo>
                    <a:pt x="7262385" y="0"/>
                    <a:pt x="7380820" y="118435"/>
                    <a:pt x="7380820" y="264533"/>
                  </a:cubicBezTo>
                  <a:lnTo>
                    <a:pt x="7380820" y="4394379"/>
                  </a:lnTo>
                  <a:cubicBezTo>
                    <a:pt x="7380820" y="4540477"/>
                    <a:pt x="7262385" y="4658912"/>
                    <a:pt x="7116287" y="4658912"/>
                  </a:cubicBezTo>
                  <a:lnTo>
                    <a:pt x="264533" y="4658912"/>
                  </a:lnTo>
                  <a:cubicBezTo>
                    <a:pt x="118435" y="4658912"/>
                    <a:pt x="0" y="4540477"/>
                    <a:pt x="0" y="4394379"/>
                  </a:cubicBezTo>
                  <a:lnTo>
                    <a:pt x="0" y="264533"/>
                  </a:lnTo>
                  <a:cubicBezTo>
                    <a:pt x="0" y="118435"/>
                    <a:pt x="118435" y="0"/>
                    <a:pt x="264533" y="0"/>
                  </a:cubicBez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  <a:effectLst/>
          </p:spPr>
          <p:txBody>
            <a:bodyPr wrap="square" lIns="115189" tIns="57595" rIns="115189" bIns="57595" anchor="ctr">
              <a:normAutofit/>
            </a:bodyPr>
            <a:lstStyle/>
            <a:p>
              <a:pPr defTabSz="1151890"/>
              <a:endParaRPr lang="en-US" sz="2265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 panose="020B0604020202020204" pitchFamily="34" charset="0"/>
              </a:endParaRPr>
            </a:p>
          </p:txBody>
        </p:sp>
      </p:grpSp>
      <p:pic>
        <p:nvPicPr>
          <p:cNvPr id="141" name="图片 14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7224" y="3101692"/>
            <a:ext cx="54913" cy="54913"/>
          </a:xfrm>
          <a:prstGeom prst="rect">
            <a:avLst/>
          </a:prstGeom>
        </p:spPr>
      </p:pic>
      <p:sp>
        <p:nvSpPr>
          <p:cNvPr id="152" name="圆角矩形 151"/>
          <p:cNvSpPr/>
          <p:nvPr/>
        </p:nvSpPr>
        <p:spPr>
          <a:xfrm>
            <a:off x="8325406" y="5494331"/>
            <a:ext cx="796971" cy="180028"/>
          </a:xfrm>
          <a:prstGeom prst="roundRect">
            <a:avLst/>
          </a:prstGeom>
          <a:solidFill>
            <a:srgbClr val="5F96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zh-CN" sz="800" b="1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LINE</a:t>
            </a:r>
            <a:endParaRPr kumimoji="1" lang="en-US" sz="800" b="1" dirty="0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pic>
        <p:nvPicPr>
          <p:cNvPr id="153" name="图片 152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57" t="4574" r="4622" b="4193"/>
          <a:stretch>
            <a:fillRect/>
          </a:stretch>
        </p:blipFill>
        <p:spPr>
          <a:xfrm>
            <a:off x="8357672" y="4679212"/>
            <a:ext cx="739117" cy="734379"/>
          </a:xfrm>
          <a:prstGeom prst="rect">
            <a:avLst/>
          </a:prstGeom>
        </p:spPr>
      </p:pic>
      <p:sp>
        <p:nvSpPr>
          <p:cNvPr id="154" name="文本框 153"/>
          <p:cNvSpPr txBox="1"/>
          <p:nvPr/>
        </p:nvSpPr>
        <p:spPr>
          <a:xfrm>
            <a:off x="537709" y="4337902"/>
            <a:ext cx="4249928" cy="11182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000"/>
              </a:lnSpc>
              <a:buSzPct val="25000"/>
            </a:pPr>
            <a:r>
              <a:rPr lang="en-US" altLang="zh-CN" sz="1300" kern="0" dirty="0">
                <a:solidFill>
                  <a:srgbClr val="566D8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* Customers may opt for an </a:t>
            </a:r>
            <a:r>
              <a:rPr lang="en-US" altLang="zh-CN" sz="1300" kern="0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enhanced warranty package</a:t>
            </a:r>
            <a:r>
              <a:rPr lang="en-US" altLang="zh-CN" sz="1300" kern="0" dirty="0">
                <a:solidFill>
                  <a:srgbClr val="566D8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(R-Care+ service), which provides </a:t>
            </a:r>
            <a:r>
              <a:rPr lang="en-US" altLang="zh-CN" sz="1600" b="1" kern="0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24*7</a:t>
            </a:r>
            <a:r>
              <a:rPr lang="en-US" altLang="zh-CN" sz="1300" kern="0" dirty="0">
                <a:solidFill>
                  <a:srgbClr val="566D8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access to hotline support and online manual assistance.</a:t>
            </a:r>
          </a:p>
        </p:txBody>
      </p:sp>
      <p:grpSp>
        <p:nvGrpSpPr>
          <p:cNvPr id="155" name="组合 154"/>
          <p:cNvGrpSpPr/>
          <p:nvPr/>
        </p:nvGrpSpPr>
        <p:grpSpPr>
          <a:xfrm>
            <a:off x="672378" y="2639804"/>
            <a:ext cx="5103145" cy="1008853"/>
            <a:chOff x="582796" y="2402857"/>
            <a:chExt cx="5103145" cy="1008853"/>
          </a:xfrm>
        </p:grpSpPr>
        <p:sp>
          <p:nvSpPr>
            <p:cNvPr id="156" name="文本框 155"/>
            <p:cNvSpPr txBox="1"/>
            <p:nvPr/>
          </p:nvSpPr>
          <p:spPr>
            <a:xfrm>
              <a:off x="654083" y="2402857"/>
              <a:ext cx="5031858" cy="9925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  <a:buSzPct val="25000"/>
              </a:pPr>
              <a:r>
                <a:rPr lang="en-US" altLang="zh-CN" sz="1400" dirty="0">
                  <a:solidFill>
                    <a:srgbClr val="566D8D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English Service</a:t>
              </a:r>
              <a:r>
                <a:rPr lang="zh-CN" altLang="en-US" sz="1400" dirty="0">
                  <a:solidFill>
                    <a:srgbClr val="566D8D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：</a:t>
              </a:r>
              <a:endParaRPr lang="en-US" altLang="zh-CN" sz="1400" dirty="0">
                <a:solidFill>
                  <a:srgbClr val="566D8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  <a:p>
              <a:pPr>
                <a:lnSpc>
                  <a:spcPct val="150000"/>
                </a:lnSpc>
                <a:buSzPct val="25000"/>
              </a:pPr>
              <a:r>
                <a:rPr lang="en-US" altLang="zh-CN" sz="1400" dirty="0">
                  <a:solidFill>
                    <a:srgbClr val="566D8D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9:00 AM to 6:00 PM </a:t>
              </a:r>
            </a:p>
            <a:p>
              <a:pPr>
                <a:lnSpc>
                  <a:spcPct val="150000"/>
                </a:lnSpc>
                <a:buSzPct val="25000"/>
              </a:pPr>
              <a:r>
                <a:rPr lang="en-US" altLang="zh-CN" sz="1100" dirty="0">
                  <a:solidFill>
                    <a:srgbClr val="566D8D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(Local time, Monday to Friday)</a:t>
              </a:r>
            </a:p>
          </p:txBody>
        </p:sp>
        <p:sp>
          <p:nvSpPr>
            <p:cNvPr id="157" name="文本框 156"/>
            <p:cNvSpPr txBox="1"/>
            <p:nvPr/>
          </p:nvSpPr>
          <p:spPr>
            <a:xfrm>
              <a:off x="3012563" y="2405749"/>
              <a:ext cx="2337009" cy="9925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  <a:buSzPct val="25000"/>
              </a:pPr>
              <a:r>
                <a:rPr lang="en-US" altLang="zh-CN" sz="1400" dirty="0">
                  <a:solidFill>
                    <a:srgbClr val="566D8D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Spanish Service</a:t>
              </a:r>
              <a:r>
                <a:rPr lang="zh-CN" altLang="en-US" sz="1400" dirty="0">
                  <a:solidFill>
                    <a:srgbClr val="566D8D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：</a:t>
              </a:r>
              <a:r>
                <a:rPr lang="en-US" altLang="zh-CN" sz="1400" dirty="0">
                  <a:solidFill>
                    <a:srgbClr val="566D8D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</a:t>
              </a:r>
            </a:p>
            <a:p>
              <a:pPr>
                <a:lnSpc>
                  <a:spcPct val="150000"/>
                </a:lnSpc>
                <a:buSzPct val="25000"/>
              </a:pPr>
              <a:r>
                <a:rPr lang="en-US" altLang="zh-CN" sz="1400" dirty="0">
                  <a:solidFill>
                    <a:srgbClr val="566D8D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9:00 AM to 6:00 PM </a:t>
              </a:r>
            </a:p>
            <a:p>
              <a:pPr>
                <a:lnSpc>
                  <a:spcPct val="150000"/>
                </a:lnSpc>
                <a:buSzPct val="25000"/>
              </a:pPr>
              <a:r>
                <a:rPr lang="en-US" altLang="zh-CN" sz="1100" dirty="0">
                  <a:solidFill>
                    <a:srgbClr val="566D8D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(GMT-6, Monday to Friday)</a:t>
              </a:r>
            </a:p>
          </p:txBody>
        </p:sp>
        <p:sp>
          <p:nvSpPr>
            <p:cNvPr id="158" name="矩形 157"/>
            <p:cNvSpPr/>
            <p:nvPr/>
          </p:nvSpPr>
          <p:spPr>
            <a:xfrm>
              <a:off x="582796" y="2492885"/>
              <a:ext cx="45719" cy="913940"/>
            </a:xfrm>
            <a:prstGeom prst="rect">
              <a:avLst/>
            </a:prstGeom>
            <a:solidFill>
              <a:srgbClr val="9FB0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003">
              <a:schemeClr val="dk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en-US" sz="14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159" name="矩形 158"/>
            <p:cNvSpPr/>
            <p:nvPr/>
          </p:nvSpPr>
          <p:spPr>
            <a:xfrm>
              <a:off x="2941276" y="2497770"/>
              <a:ext cx="45719" cy="913940"/>
            </a:xfrm>
            <a:prstGeom prst="rect">
              <a:avLst/>
            </a:prstGeom>
            <a:solidFill>
              <a:srgbClr val="9FB0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003">
              <a:schemeClr val="dk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en-US" sz="140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</p:grpSp>
      <p:sp>
        <p:nvSpPr>
          <p:cNvPr id="161" name="文本框 160"/>
          <p:cNvSpPr txBox="1"/>
          <p:nvPr/>
        </p:nvSpPr>
        <p:spPr>
          <a:xfrm>
            <a:off x="532663" y="2303671"/>
            <a:ext cx="2593730" cy="4154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lnSpc>
                <a:spcPct val="150000"/>
              </a:lnSpc>
              <a:buSzPct val="25000"/>
            </a:pPr>
            <a:r>
              <a:rPr lang="en-US" altLang="zh-CN" sz="1400" b="1" dirty="0">
                <a:solidFill>
                  <a:srgbClr val="566D8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Warranty Service(R-Care)</a:t>
            </a:r>
          </a:p>
        </p:txBody>
      </p:sp>
      <p:sp>
        <p:nvSpPr>
          <p:cNvPr id="162" name="文本框 161"/>
          <p:cNvSpPr txBox="1"/>
          <p:nvPr/>
        </p:nvSpPr>
        <p:spPr>
          <a:xfrm>
            <a:off x="532663" y="4001151"/>
            <a:ext cx="2593730" cy="4154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  <a:buSzPct val="25000"/>
            </a:pPr>
            <a:r>
              <a:rPr lang="en-US" altLang="zh-CN" sz="1400" b="1" dirty="0">
                <a:solidFill>
                  <a:srgbClr val="566D8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-Care+ Service</a:t>
            </a:r>
          </a:p>
        </p:txBody>
      </p:sp>
      <p:pic>
        <p:nvPicPr>
          <p:cNvPr id="67" name="图片 66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4875" y="3095616"/>
            <a:ext cx="2224249" cy="1281552"/>
          </a:xfrm>
          <a:prstGeom prst="rect">
            <a:avLst/>
          </a:prstGeom>
        </p:spPr>
      </p:pic>
      <p:grpSp>
        <p:nvGrpSpPr>
          <p:cNvPr id="68" name="组合 67"/>
          <p:cNvGrpSpPr/>
          <p:nvPr/>
        </p:nvGrpSpPr>
        <p:grpSpPr>
          <a:xfrm>
            <a:off x="6391631" y="3507219"/>
            <a:ext cx="588346" cy="1080730"/>
            <a:chOff x="5347306" y="2172225"/>
            <a:chExt cx="1742343" cy="3200499"/>
          </a:xfrm>
        </p:grpSpPr>
        <p:grpSp>
          <p:nvGrpSpPr>
            <p:cNvPr id="69" name="组合 68"/>
            <p:cNvGrpSpPr/>
            <p:nvPr/>
          </p:nvGrpSpPr>
          <p:grpSpPr>
            <a:xfrm>
              <a:off x="5347306" y="2172225"/>
              <a:ext cx="1742343" cy="3200499"/>
              <a:chOff x="3464559" y="2180729"/>
              <a:chExt cx="2380939" cy="4080426"/>
            </a:xfrm>
          </p:grpSpPr>
          <p:sp>
            <p:nvSpPr>
              <p:cNvPr id="71" name="íṥ1ïḑé"/>
              <p:cNvSpPr/>
              <p:nvPr/>
            </p:nvSpPr>
            <p:spPr bwMode="auto">
              <a:xfrm flipH="1">
                <a:off x="3464559" y="2180729"/>
                <a:ext cx="2380939" cy="4080426"/>
              </a:xfrm>
              <a:custGeom>
                <a:avLst/>
                <a:gdLst>
                  <a:gd name="T0" fmla="*/ 8594 w 8630"/>
                  <a:gd name="T1" fmla="*/ 3320 h 17382"/>
                  <a:gd name="T2" fmla="*/ 8596 w 8630"/>
                  <a:gd name="T3" fmla="*/ 3320 h 17382"/>
                  <a:gd name="T4" fmla="*/ 8629 w 8630"/>
                  <a:gd name="T5" fmla="*/ 3353 h 17382"/>
                  <a:gd name="T6" fmla="*/ 8629 w 8630"/>
                  <a:gd name="T7" fmla="*/ 4419 h 17382"/>
                  <a:gd name="T8" fmla="*/ 8596 w 8630"/>
                  <a:gd name="T9" fmla="*/ 4452 h 17382"/>
                  <a:gd name="T10" fmla="*/ 8594 w 8630"/>
                  <a:gd name="T11" fmla="*/ 4452 h 17382"/>
                  <a:gd name="T12" fmla="*/ 8594 w 8630"/>
                  <a:gd name="T13" fmla="*/ 16371 h 17382"/>
                  <a:gd name="T14" fmla="*/ 7584 w 8630"/>
                  <a:gd name="T15" fmla="*/ 17381 h 17382"/>
                  <a:gd name="T16" fmla="*/ 1043 w 8630"/>
                  <a:gd name="T17" fmla="*/ 17381 h 17382"/>
                  <a:gd name="T18" fmla="*/ 33 w 8630"/>
                  <a:gd name="T19" fmla="*/ 16371 h 17382"/>
                  <a:gd name="T20" fmla="*/ 33 w 8630"/>
                  <a:gd name="T21" fmla="*/ 5859 h 17382"/>
                  <a:gd name="T22" fmla="*/ 33 w 8630"/>
                  <a:gd name="T23" fmla="*/ 5859 h 17382"/>
                  <a:gd name="T24" fmla="*/ 0 w 8630"/>
                  <a:gd name="T25" fmla="*/ 5826 h 17382"/>
                  <a:gd name="T26" fmla="*/ 0 w 8630"/>
                  <a:gd name="T27" fmla="*/ 4760 h 17382"/>
                  <a:gd name="T28" fmla="*/ 33 w 8630"/>
                  <a:gd name="T29" fmla="*/ 4727 h 17382"/>
                  <a:gd name="T30" fmla="*/ 33 w 8630"/>
                  <a:gd name="T31" fmla="*/ 4727 h 17382"/>
                  <a:gd name="T32" fmla="*/ 33 w 8630"/>
                  <a:gd name="T33" fmla="*/ 4452 h 17382"/>
                  <a:gd name="T34" fmla="*/ 33 w 8630"/>
                  <a:gd name="T35" fmla="*/ 4452 h 17382"/>
                  <a:gd name="T36" fmla="*/ 0 w 8630"/>
                  <a:gd name="T37" fmla="*/ 4419 h 17382"/>
                  <a:gd name="T38" fmla="*/ 0 w 8630"/>
                  <a:gd name="T39" fmla="*/ 3353 h 17382"/>
                  <a:gd name="T40" fmla="*/ 33 w 8630"/>
                  <a:gd name="T41" fmla="*/ 3320 h 17382"/>
                  <a:gd name="T42" fmla="*/ 33 w 8630"/>
                  <a:gd name="T43" fmla="*/ 3320 h 17382"/>
                  <a:gd name="T44" fmla="*/ 33 w 8630"/>
                  <a:gd name="T45" fmla="*/ 2704 h 17382"/>
                  <a:gd name="T46" fmla="*/ 33 w 8630"/>
                  <a:gd name="T47" fmla="*/ 2704 h 17382"/>
                  <a:gd name="T48" fmla="*/ 0 w 8630"/>
                  <a:gd name="T49" fmla="*/ 2672 h 17382"/>
                  <a:gd name="T50" fmla="*/ 0 w 8630"/>
                  <a:gd name="T51" fmla="*/ 2075 h 17382"/>
                  <a:gd name="T52" fmla="*/ 33 w 8630"/>
                  <a:gd name="T53" fmla="*/ 2042 h 17382"/>
                  <a:gd name="T54" fmla="*/ 33 w 8630"/>
                  <a:gd name="T55" fmla="*/ 2042 h 17382"/>
                  <a:gd name="T56" fmla="*/ 33 w 8630"/>
                  <a:gd name="T57" fmla="*/ 1010 h 17382"/>
                  <a:gd name="T58" fmla="*/ 1043 w 8630"/>
                  <a:gd name="T59" fmla="*/ 0 h 17382"/>
                  <a:gd name="T60" fmla="*/ 7584 w 8630"/>
                  <a:gd name="T61" fmla="*/ 0 h 17382"/>
                  <a:gd name="T62" fmla="*/ 8594 w 8630"/>
                  <a:gd name="T63" fmla="*/ 1010 h 17382"/>
                  <a:gd name="T64" fmla="*/ 8594 w 8630"/>
                  <a:gd name="T65" fmla="*/ 3320 h 1738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8630"/>
                  <a:gd name="T100" fmla="*/ 0 h 17382"/>
                  <a:gd name="T101" fmla="*/ 8630 w 8630"/>
                  <a:gd name="T102" fmla="*/ 17382 h 17382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8630" h="17382">
                    <a:moveTo>
                      <a:pt x="8594" y="3320"/>
                    </a:moveTo>
                    <a:lnTo>
                      <a:pt x="8596" y="3320"/>
                    </a:lnTo>
                    <a:cubicBezTo>
                      <a:pt x="8614" y="3320"/>
                      <a:pt x="8629" y="3335"/>
                      <a:pt x="8629" y="3353"/>
                    </a:cubicBezTo>
                    <a:lnTo>
                      <a:pt x="8629" y="4419"/>
                    </a:lnTo>
                    <a:cubicBezTo>
                      <a:pt x="8629" y="4438"/>
                      <a:pt x="8614" y="4452"/>
                      <a:pt x="8596" y="4452"/>
                    </a:cubicBezTo>
                    <a:lnTo>
                      <a:pt x="8594" y="4452"/>
                    </a:lnTo>
                    <a:lnTo>
                      <a:pt x="8594" y="16371"/>
                    </a:lnTo>
                    <a:cubicBezTo>
                      <a:pt x="8594" y="16928"/>
                      <a:pt x="8141" y="17381"/>
                      <a:pt x="7584" y="17381"/>
                    </a:cubicBezTo>
                    <a:lnTo>
                      <a:pt x="1043" y="17381"/>
                    </a:lnTo>
                    <a:cubicBezTo>
                      <a:pt x="487" y="17381"/>
                      <a:pt x="33" y="16928"/>
                      <a:pt x="33" y="16371"/>
                    </a:cubicBezTo>
                    <a:lnTo>
                      <a:pt x="33" y="5859"/>
                    </a:lnTo>
                    <a:cubicBezTo>
                      <a:pt x="15" y="5859"/>
                      <a:pt x="0" y="5844"/>
                      <a:pt x="0" y="5826"/>
                    </a:cubicBezTo>
                    <a:lnTo>
                      <a:pt x="0" y="4760"/>
                    </a:lnTo>
                    <a:cubicBezTo>
                      <a:pt x="0" y="4741"/>
                      <a:pt x="15" y="4727"/>
                      <a:pt x="33" y="4727"/>
                    </a:cubicBezTo>
                    <a:lnTo>
                      <a:pt x="33" y="4452"/>
                    </a:lnTo>
                    <a:cubicBezTo>
                      <a:pt x="15" y="4452"/>
                      <a:pt x="0" y="4438"/>
                      <a:pt x="0" y="4419"/>
                    </a:cubicBezTo>
                    <a:lnTo>
                      <a:pt x="0" y="3353"/>
                    </a:lnTo>
                    <a:cubicBezTo>
                      <a:pt x="0" y="3335"/>
                      <a:pt x="15" y="3320"/>
                      <a:pt x="33" y="3320"/>
                    </a:cubicBezTo>
                    <a:lnTo>
                      <a:pt x="33" y="2704"/>
                    </a:lnTo>
                    <a:cubicBezTo>
                      <a:pt x="15" y="2704"/>
                      <a:pt x="0" y="2690"/>
                      <a:pt x="0" y="2672"/>
                    </a:cubicBezTo>
                    <a:lnTo>
                      <a:pt x="0" y="2075"/>
                    </a:lnTo>
                    <a:cubicBezTo>
                      <a:pt x="0" y="2057"/>
                      <a:pt x="15" y="2042"/>
                      <a:pt x="33" y="2042"/>
                    </a:cubicBezTo>
                    <a:lnTo>
                      <a:pt x="33" y="1010"/>
                    </a:lnTo>
                    <a:cubicBezTo>
                      <a:pt x="33" y="453"/>
                      <a:pt x="487" y="0"/>
                      <a:pt x="1043" y="0"/>
                    </a:cubicBezTo>
                    <a:lnTo>
                      <a:pt x="7584" y="0"/>
                    </a:lnTo>
                    <a:cubicBezTo>
                      <a:pt x="8141" y="0"/>
                      <a:pt x="8594" y="453"/>
                      <a:pt x="8594" y="1010"/>
                    </a:cubicBezTo>
                    <a:lnTo>
                      <a:pt x="8594" y="3320"/>
                    </a:lnTo>
                  </a:path>
                </a:pathLst>
              </a:custGeom>
              <a:solidFill>
                <a:schemeClr val="tx2">
                  <a:lumMod val="50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72" name="îSlïḑè"/>
              <p:cNvSpPr/>
              <p:nvPr/>
            </p:nvSpPr>
            <p:spPr bwMode="auto">
              <a:xfrm flipH="1">
                <a:off x="4418088" y="2385527"/>
                <a:ext cx="471612" cy="45719"/>
              </a:xfrm>
              <a:custGeom>
                <a:avLst/>
                <a:gdLst>
                  <a:gd name="T0" fmla="*/ 1143 w 1209"/>
                  <a:gd name="T1" fmla="*/ 129 h 130"/>
                  <a:gd name="T2" fmla="*/ 64 w 1209"/>
                  <a:gd name="T3" fmla="*/ 129 h 130"/>
                  <a:gd name="T4" fmla="*/ 0 w 1209"/>
                  <a:gd name="T5" fmla="*/ 65 h 130"/>
                  <a:gd name="T6" fmla="*/ 64 w 1209"/>
                  <a:gd name="T7" fmla="*/ 0 h 130"/>
                  <a:gd name="T8" fmla="*/ 1143 w 1209"/>
                  <a:gd name="T9" fmla="*/ 0 h 130"/>
                  <a:gd name="T10" fmla="*/ 1208 w 1209"/>
                  <a:gd name="T11" fmla="*/ 65 h 130"/>
                  <a:gd name="T12" fmla="*/ 1143 w 1209"/>
                  <a:gd name="T13" fmla="*/ 129 h 13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209"/>
                  <a:gd name="T22" fmla="*/ 0 h 130"/>
                  <a:gd name="T23" fmla="*/ 1209 w 1209"/>
                  <a:gd name="T24" fmla="*/ 130 h 13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209" h="130">
                    <a:moveTo>
                      <a:pt x="1143" y="129"/>
                    </a:moveTo>
                    <a:lnTo>
                      <a:pt x="64" y="129"/>
                    </a:lnTo>
                    <a:cubicBezTo>
                      <a:pt x="29" y="129"/>
                      <a:pt x="0" y="100"/>
                      <a:pt x="0" y="65"/>
                    </a:cubicBezTo>
                    <a:cubicBezTo>
                      <a:pt x="0" y="29"/>
                      <a:pt x="29" y="0"/>
                      <a:pt x="64" y="0"/>
                    </a:cubicBezTo>
                    <a:lnTo>
                      <a:pt x="1143" y="0"/>
                    </a:lnTo>
                    <a:cubicBezTo>
                      <a:pt x="1179" y="0"/>
                      <a:pt x="1208" y="29"/>
                      <a:pt x="1208" y="65"/>
                    </a:cubicBezTo>
                    <a:cubicBezTo>
                      <a:pt x="1208" y="100"/>
                      <a:pt x="1179" y="129"/>
                      <a:pt x="1143" y="12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</p:grpSp>
        <p:pic>
          <p:nvPicPr>
            <p:cNvPr id="70" name="图片 69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34809" y="2256434"/>
              <a:ext cx="1557567" cy="3011065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76734" y="402155"/>
            <a:ext cx="10727332" cy="605684"/>
          </a:xfrm>
        </p:spPr>
        <p:txBody>
          <a:bodyPr/>
          <a:lstStyle/>
          <a:p>
            <a:r>
              <a:rPr lang="en-US" altLang="zh-CN" dirty="0">
                <a:solidFill>
                  <a:schemeClr val="tx1"/>
                </a:solidFill>
                <a:latin typeface="Noto Sans Black" panose="020B0A02040504020204"/>
              </a:rPr>
              <a:t>Ruijie Service </a:t>
            </a:r>
            <a:r>
              <a:rPr lang="en-US" altLang="zh-CN" dirty="0" smtClean="0">
                <a:solidFill>
                  <a:schemeClr val="tx1"/>
                </a:solidFill>
                <a:latin typeface="Noto Sans Black" panose="020B0A02040504020204"/>
              </a:rPr>
              <a:t>Platform: </a:t>
            </a:r>
            <a:r>
              <a:rPr lang="en-US" altLang="zh-CN" dirty="0">
                <a:latin typeface="Noto Sans Black" panose="020B0A02040504020204"/>
              </a:rPr>
              <a:t>Expert Support Channel</a:t>
            </a:r>
          </a:p>
        </p:txBody>
      </p:sp>
      <p:sp>
        <p:nvSpPr>
          <p:cNvPr id="58" name="矩形 57"/>
          <p:cNvSpPr/>
          <p:nvPr>
            <p:custDataLst>
              <p:tags r:id="rId1"/>
            </p:custDataLst>
          </p:nvPr>
        </p:nvSpPr>
        <p:spPr>
          <a:xfrm>
            <a:off x="6262482" y="2588711"/>
            <a:ext cx="1828165" cy="1797050"/>
          </a:xfrm>
          <a:prstGeom prst="rect">
            <a:avLst/>
          </a:prstGeom>
          <a:solidFill>
            <a:schemeClr val="bg1">
              <a:alpha val="29000"/>
            </a:schemeClr>
          </a:solidFill>
          <a:ln>
            <a:noFill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>
              <a:latin typeface="Noto Sans" panose="020B0502040504020204"/>
            </a:endParaRPr>
          </a:p>
        </p:txBody>
      </p:sp>
      <p:sp>
        <p:nvSpPr>
          <p:cNvPr id="59" name="矩形 58"/>
          <p:cNvSpPr/>
          <p:nvPr>
            <p:custDataLst>
              <p:tags r:id="rId2"/>
            </p:custDataLst>
          </p:nvPr>
        </p:nvSpPr>
        <p:spPr>
          <a:xfrm>
            <a:off x="9145382" y="2660466"/>
            <a:ext cx="1830070" cy="3181350"/>
          </a:xfrm>
          <a:prstGeom prst="rect">
            <a:avLst/>
          </a:prstGeom>
          <a:solidFill>
            <a:schemeClr val="bg1">
              <a:alpha val="29000"/>
            </a:schemeClr>
          </a:solidFill>
          <a:ln>
            <a:noFill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>
              <a:latin typeface="Noto Sans" panose="020B0502040504020204"/>
            </a:endParaRPr>
          </a:p>
        </p:txBody>
      </p:sp>
      <p:sp>
        <p:nvSpPr>
          <p:cNvPr id="60" name="矩形 59"/>
          <p:cNvSpPr/>
          <p:nvPr/>
        </p:nvSpPr>
        <p:spPr>
          <a:xfrm>
            <a:off x="2332467" y="2588711"/>
            <a:ext cx="2971165" cy="3324225"/>
          </a:xfrm>
          <a:prstGeom prst="rect">
            <a:avLst/>
          </a:prstGeom>
          <a:solidFill>
            <a:schemeClr val="bg1">
              <a:alpha val="29000"/>
            </a:schemeClr>
          </a:solidFill>
          <a:ln>
            <a:noFill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>
              <a:latin typeface="Noto Sans" panose="020B0502040504020204"/>
            </a:endParaRPr>
          </a:p>
        </p:txBody>
      </p:sp>
      <p:sp>
        <p:nvSpPr>
          <p:cNvPr id="61" name="圆角矩形 60"/>
          <p:cNvSpPr/>
          <p:nvPr/>
        </p:nvSpPr>
        <p:spPr>
          <a:xfrm>
            <a:off x="603997" y="2948121"/>
            <a:ext cx="1512570" cy="648335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>
              <a:latin typeface="Noto Sans" panose="020B0502040504020204"/>
            </a:endParaRPr>
          </a:p>
        </p:txBody>
      </p:sp>
      <p:sp>
        <p:nvSpPr>
          <p:cNvPr id="62" name="矩形 61"/>
          <p:cNvSpPr/>
          <p:nvPr>
            <p:custDataLst>
              <p:tags r:id="rId3"/>
            </p:custDataLst>
          </p:nvPr>
        </p:nvSpPr>
        <p:spPr>
          <a:xfrm>
            <a:off x="603997" y="1940376"/>
            <a:ext cx="10650855" cy="616585"/>
          </a:xfrm>
          <a:prstGeom prst="rect">
            <a:avLst/>
          </a:prstGeom>
          <a:solidFill>
            <a:schemeClr val="bg1">
              <a:lumMod val="75000"/>
              <a:alpha val="2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003">
            <a:schemeClr val="dk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b="1">
              <a:latin typeface="Noto Sans" panose="020B0502040504020204"/>
              <a:cs typeface="Noto Sans" panose="020B0502040504020204" pitchFamily="34" charset="0"/>
            </a:endParaRPr>
          </a:p>
        </p:txBody>
      </p:sp>
      <p:sp>
        <p:nvSpPr>
          <p:cNvPr id="63" name="矩形 62"/>
          <p:cNvSpPr/>
          <p:nvPr>
            <p:custDataLst>
              <p:tags r:id="rId4"/>
            </p:custDataLst>
          </p:nvPr>
        </p:nvSpPr>
        <p:spPr>
          <a:xfrm>
            <a:off x="2338182" y="2012131"/>
            <a:ext cx="2919730" cy="48069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en-US" altLang="zh-CN" sz="1300" b="1" dirty="0">
                <a:latin typeface="Noto Sans" panose="020B0502040504020204"/>
                <a:ea typeface="Noto Sans" panose="020B0502040504020204" pitchFamily="34" charset="0"/>
                <a:cs typeface="Noto Sans" panose="020B0502040504020204" pitchFamily="34" charset="0"/>
                <a:sym typeface="+mn-ea"/>
              </a:rPr>
              <a:t>Support Channel</a:t>
            </a:r>
          </a:p>
        </p:txBody>
      </p:sp>
      <p:sp>
        <p:nvSpPr>
          <p:cNvPr id="64" name="文本框 63"/>
          <p:cNvSpPr txBox="1"/>
          <p:nvPr/>
        </p:nvSpPr>
        <p:spPr>
          <a:xfrm>
            <a:off x="776082" y="3092266"/>
            <a:ext cx="116395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altLang="zh-CN" dirty="0">
                <a:solidFill>
                  <a:schemeClr val="tx1">
                    <a:lumMod val="65000"/>
                    <a:lumOff val="35000"/>
                  </a:schemeClr>
                </a:solidFill>
                <a:latin typeface="Noto Sans" panose="020B0502040504020204"/>
              </a:rPr>
              <a:t>End User</a:t>
            </a:r>
          </a:p>
        </p:txBody>
      </p:sp>
      <p:grpSp>
        <p:nvGrpSpPr>
          <p:cNvPr id="66" name="组合 65"/>
          <p:cNvGrpSpPr/>
          <p:nvPr/>
        </p:nvGrpSpPr>
        <p:grpSpPr>
          <a:xfrm>
            <a:off x="2492487" y="2736031"/>
            <a:ext cx="2765425" cy="3016885"/>
            <a:chOff x="6424" y="3061"/>
            <a:chExt cx="2765" cy="3258"/>
          </a:xfrm>
        </p:grpSpPr>
        <p:sp>
          <p:nvSpPr>
            <p:cNvPr id="73" name="圆角矩形 72"/>
            <p:cNvSpPr/>
            <p:nvPr>
              <p:custDataLst>
                <p:tags r:id="rId19"/>
              </p:custDataLst>
            </p:nvPr>
          </p:nvSpPr>
          <p:spPr>
            <a:xfrm>
              <a:off x="6425" y="3668"/>
              <a:ext cx="744" cy="202"/>
            </a:xfrm>
            <a:prstGeom prst="roundRect">
              <a:avLst>
                <a:gd name="adj" fmla="val 12321"/>
              </a:avLst>
            </a:prstGeom>
            <a:solidFill>
              <a:srgbClr val="9FA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800" b="1" dirty="0">
                  <a:solidFill>
                    <a:schemeClr val="bg1"/>
                  </a:solidFill>
                  <a:latin typeface="Noto Sans" panose="020B0502040504020204"/>
                  <a:ea typeface="Noto Sans" panose="020B0502040504020204" pitchFamily="34" charset="0"/>
                  <a:cs typeface="Noto Sans" panose="020B0502040504020204" pitchFamily="34" charset="0"/>
                </a:rPr>
                <a:t>Hotline</a:t>
              </a:r>
            </a:p>
          </p:txBody>
        </p:sp>
        <p:sp>
          <p:nvSpPr>
            <p:cNvPr id="74" name="圆角矩形 73"/>
            <p:cNvSpPr/>
            <p:nvPr>
              <p:custDataLst>
                <p:tags r:id="rId20"/>
              </p:custDataLst>
            </p:nvPr>
          </p:nvSpPr>
          <p:spPr>
            <a:xfrm>
              <a:off x="7503" y="3670"/>
              <a:ext cx="649" cy="200"/>
            </a:xfrm>
            <a:prstGeom prst="roundRect">
              <a:avLst>
                <a:gd name="adj" fmla="val 12321"/>
              </a:avLst>
            </a:prstGeom>
            <a:solidFill>
              <a:srgbClr val="9FA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800" b="1" dirty="0">
                  <a:solidFill>
                    <a:schemeClr val="bg1"/>
                  </a:solidFill>
                  <a:latin typeface="Noto Sans" panose="020B0502040504020204"/>
                  <a:ea typeface="Noto Sans" panose="020B0502040504020204" pitchFamily="34" charset="0"/>
                  <a:cs typeface="Noto Sans" panose="020B0502040504020204" pitchFamily="34" charset="0"/>
                </a:rPr>
                <a:t>Live Chat</a:t>
              </a:r>
              <a:endParaRPr lang="zh-CN" altLang="en-US" sz="800" b="1" dirty="0">
                <a:solidFill>
                  <a:schemeClr val="bg1"/>
                </a:solidFill>
                <a:latin typeface="Noto Sans" panose="020B0502040504020204"/>
                <a:ea typeface="微软雅黑" panose="020B0503020204020204" charset="-122"/>
                <a:cs typeface="Noto Sans" panose="020B0502040504020204" pitchFamily="34" charset="0"/>
              </a:endParaRPr>
            </a:p>
          </p:txBody>
        </p:sp>
        <p:pic>
          <p:nvPicPr>
            <p:cNvPr id="75" name="图片 74"/>
            <p:cNvPicPr>
              <a:picLocks noChangeAspect="1"/>
            </p:cNvPicPr>
            <p:nvPr>
              <p:custDataLst>
                <p:tags r:id="rId21"/>
              </p:custDataLst>
            </p:nvPr>
          </p:nvPicPr>
          <p:blipFill rotWithShape="1">
            <a:blip r:embed="rId3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437" r="9331" b="13531"/>
            <a:stretch>
              <a:fillRect/>
            </a:stretch>
          </p:blipFill>
          <p:spPr>
            <a:xfrm>
              <a:off x="7595" y="3061"/>
              <a:ext cx="480" cy="488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sp>
          <p:nvSpPr>
            <p:cNvPr id="76" name="圆角矩形 75"/>
            <p:cNvSpPr/>
            <p:nvPr>
              <p:custDataLst>
                <p:tags r:id="rId22"/>
              </p:custDataLst>
            </p:nvPr>
          </p:nvSpPr>
          <p:spPr>
            <a:xfrm>
              <a:off x="8384" y="3670"/>
              <a:ext cx="754" cy="216"/>
            </a:xfrm>
            <a:prstGeom prst="roundRect">
              <a:avLst>
                <a:gd name="adj" fmla="val 12321"/>
              </a:avLst>
            </a:prstGeom>
            <a:solidFill>
              <a:srgbClr val="9FA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800" b="1" dirty="0">
                  <a:solidFill>
                    <a:schemeClr val="bg1"/>
                  </a:solidFill>
                  <a:latin typeface="Noto Sans" panose="020B0502040504020204"/>
                  <a:ea typeface="Noto Sans" panose="020B0502040504020204" pitchFamily="34" charset="0"/>
                  <a:cs typeface="Noto Sans" panose="020B0502040504020204" pitchFamily="34" charset="0"/>
                </a:rPr>
                <a:t>Case Portal</a:t>
              </a:r>
              <a:endParaRPr lang="zh-CN" altLang="en-US" sz="800" b="1" dirty="0">
                <a:solidFill>
                  <a:schemeClr val="bg1"/>
                </a:solidFill>
                <a:latin typeface="Noto Sans" panose="020B0502040504020204"/>
                <a:ea typeface="微软雅黑" panose="020B0503020204020204" charset="-122"/>
                <a:cs typeface="Noto Sans" panose="020B0502040504020204" pitchFamily="34" charset="0"/>
              </a:endParaRPr>
            </a:p>
          </p:txBody>
        </p:sp>
        <p:sp>
          <p:nvSpPr>
            <p:cNvPr id="77" name="圆角矩形 76"/>
            <p:cNvSpPr/>
            <p:nvPr>
              <p:custDataLst>
                <p:tags r:id="rId23"/>
              </p:custDataLst>
            </p:nvPr>
          </p:nvSpPr>
          <p:spPr>
            <a:xfrm>
              <a:off x="6424" y="6086"/>
              <a:ext cx="2765" cy="233"/>
            </a:xfrm>
            <a:prstGeom prst="roundRect">
              <a:avLst>
                <a:gd name="adj" fmla="val 12321"/>
              </a:avLst>
            </a:prstGeom>
            <a:solidFill>
              <a:srgbClr val="9FA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1450" indent="-171450" algn="ctr">
                <a:buFont typeface="Arial" panose="020B0604020202020204" pitchFamily="34" charset="0"/>
                <a:buChar char="•"/>
              </a:pPr>
              <a:r>
                <a:rPr lang="en-US" altLang="zh-CN" sz="1000" b="1" dirty="0">
                  <a:latin typeface="Noto Sans" panose="020B0502040504020204"/>
                </a:rPr>
                <a:t>Multi-channel </a:t>
              </a:r>
              <a:r>
                <a:rPr lang="en-US" altLang="zh-CN" sz="1000" b="1" dirty="0" smtClean="0">
                  <a:latin typeface="Noto Sans" panose="020B0502040504020204"/>
                </a:rPr>
                <a:t>Quick Start </a:t>
              </a:r>
              <a:r>
                <a:rPr lang="en-US" altLang="zh-CN" sz="1000" b="1" dirty="0">
                  <a:latin typeface="Noto Sans" panose="020B0502040504020204"/>
                </a:rPr>
                <a:t>Service</a:t>
              </a:r>
              <a:endParaRPr lang="en-US" altLang="zh-CN" sz="1000" dirty="0">
                <a:latin typeface="Noto Sans" panose="020B0502040504020204"/>
              </a:endParaRPr>
            </a:p>
          </p:txBody>
        </p:sp>
        <p:grpSp>
          <p:nvGrpSpPr>
            <p:cNvPr id="78" name="组合 77"/>
            <p:cNvGrpSpPr/>
            <p:nvPr/>
          </p:nvGrpSpPr>
          <p:grpSpPr>
            <a:xfrm>
              <a:off x="6451" y="4082"/>
              <a:ext cx="2705" cy="1919"/>
              <a:chOff x="8423" y="4972"/>
              <a:chExt cx="4672" cy="3346"/>
            </a:xfrm>
          </p:grpSpPr>
          <p:grpSp>
            <p:nvGrpSpPr>
              <p:cNvPr id="81" name="组合 80"/>
              <p:cNvGrpSpPr/>
              <p:nvPr/>
            </p:nvGrpSpPr>
            <p:grpSpPr>
              <a:xfrm>
                <a:off x="8423" y="4991"/>
                <a:ext cx="1266" cy="1587"/>
                <a:chOff x="304442" y="5049299"/>
                <a:chExt cx="933665" cy="1171317"/>
              </a:xfrm>
            </p:grpSpPr>
            <p:pic>
              <p:nvPicPr>
                <p:cNvPr id="96" name="图片 95"/>
                <p:cNvPicPr>
                  <a:picLocks noChangeAspect="1"/>
                </p:cNvPicPr>
                <p:nvPr>
                  <p:custDataLst>
                    <p:tags r:id="rId35"/>
                  </p:custDataLst>
                </p:nvPr>
              </p:nvPicPr>
              <p:blipFill>
                <a:blip r:embed="rId3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04442" y="5049299"/>
                  <a:ext cx="933665" cy="890672"/>
                </a:xfrm>
                <a:prstGeom prst="rect">
                  <a:avLst/>
                </a:prstGeom>
              </p:spPr>
            </p:pic>
            <p:sp>
              <p:nvSpPr>
                <p:cNvPr id="97" name="圆角矩形 96"/>
                <p:cNvSpPr/>
                <p:nvPr>
                  <p:custDataLst>
                    <p:tags r:id="rId36"/>
                  </p:custDataLst>
                </p:nvPr>
              </p:nvSpPr>
              <p:spPr>
                <a:xfrm>
                  <a:off x="318455" y="5987640"/>
                  <a:ext cx="914699" cy="232976"/>
                </a:xfrm>
                <a:prstGeom prst="roundRect">
                  <a:avLst/>
                </a:prstGeom>
                <a:solidFill>
                  <a:srgbClr val="5F96C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003">
                  <a:schemeClr val="dk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Overflow="overflow" horzOverflow="overflow" vert="horz" wrap="square" numCol="1" spcCol="0" rtlCol="0" fromWordArt="0" anchor="ctr" anchorCtr="0" forceAA="0" compatLnSpc="1">
                  <a:noAutofit/>
                </a:bodyPr>
                <a:lstStyle/>
                <a:p>
                  <a:pPr lvl="0" algn="ctr">
                    <a:buClrTx/>
                    <a:buSzTx/>
                    <a:buFontTx/>
                  </a:pPr>
                  <a:r>
                    <a:rPr kumimoji="1" lang="en-US" altLang="zh-CN" sz="800" b="1" dirty="0">
                      <a:latin typeface="Noto Sans" panose="020B0502040504020204"/>
                      <a:ea typeface="Noto Sans" panose="020B0502040504020204" pitchFamily="34" charset="0"/>
                      <a:cs typeface="Noto Sans" panose="020B0502040504020204" pitchFamily="34" charset="0"/>
                      <a:sym typeface="+mn-ea"/>
                    </a:rPr>
                    <a:t>Website</a:t>
                  </a:r>
                </a:p>
              </p:txBody>
            </p:sp>
          </p:grpSp>
          <p:grpSp>
            <p:nvGrpSpPr>
              <p:cNvPr id="82" name="组合 81"/>
              <p:cNvGrpSpPr/>
              <p:nvPr/>
            </p:nvGrpSpPr>
            <p:grpSpPr>
              <a:xfrm>
                <a:off x="10173" y="4972"/>
                <a:ext cx="1238" cy="1599"/>
                <a:chOff x="1341434" y="5049299"/>
                <a:chExt cx="913675" cy="1180327"/>
              </a:xfrm>
            </p:grpSpPr>
            <p:pic>
              <p:nvPicPr>
                <p:cNvPr id="94" name="图片 93"/>
                <p:cNvPicPr>
                  <a:picLocks noChangeAspect="1"/>
                </p:cNvPicPr>
                <p:nvPr>
                  <p:custDataLst>
                    <p:tags r:id="rId33"/>
                  </p:custDataLst>
                </p:nvPr>
              </p:nvPicPr>
              <p:blipFill rotWithShape="1">
                <a:blip r:embed="rId4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719" t="2870" r="2438" b="2287"/>
                <a:stretch>
                  <a:fillRect/>
                </a:stretch>
              </p:blipFill>
              <p:spPr>
                <a:xfrm>
                  <a:off x="1364371" y="5049299"/>
                  <a:ext cx="888669" cy="888669"/>
                </a:xfrm>
                <a:prstGeom prst="rect">
                  <a:avLst/>
                </a:prstGeom>
              </p:spPr>
            </p:pic>
            <p:sp>
              <p:nvSpPr>
                <p:cNvPr id="95" name="圆角矩形 94"/>
                <p:cNvSpPr/>
                <p:nvPr>
                  <p:custDataLst>
                    <p:tags r:id="rId34"/>
                  </p:custDataLst>
                </p:nvPr>
              </p:nvSpPr>
              <p:spPr>
                <a:xfrm>
                  <a:off x="1341434" y="6010809"/>
                  <a:ext cx="913675" cy="218817"/>
                </a:xfrm>
                <a:prstGeom prst="roundRect">
                  <a:avLst/>
                </a:prstGeom>
                <a:solidFill>
                  <a:srgbClr val="5F96C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003">
                  <a:schemeClr val="dk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Overflow="overflow" horzOverflow="overflow" vert="horz" wrap="square" numCol="1" spcCol="0" rtlCol="0" fromWordArt="0" anchor="ctr" anchorCtr="0" forceAA="0" compatLnSpc="1">
                  <a:noAutofit/>
                </a:bodyPr>
                <a:lstStyle/>
                <a:p>
                  <a:pPr lvl="0" algn="ctr">
                    <a:buClrTx/>
                    <a:buSzTx/>
                    <a:buFontTx/>
                  </a:pPr>
                  <a:r>
                    <a:rPr kumimoji="1" lang="en-US" altLang="zh-CN" sz="800" b="1" dirty="0">
                      <a:latin typeface="Noto Sans" panose="020B0502040504020204"/>
                      <a:ea typeface="Noto Sans" panose="020B0502040504020204" pitchFamily="34" charset="0"/>
                      <a:cs typeface="Noto Sans" panose="020B0502040504020204" pitchFamily="34" charset="0"/>
                      <a:sym typeface="+mn-ea"/>
                    </a:rPr>
                    <a:t>WeChat</a:t>
                  </a:r>
                </a:p>
              </p:txBody>
            </p:sp>
          </p:grpSp>
          <p:grpSp>
            <p:nvGrpSpPr>
              <p:cNvPr id="83" name="组合 82"/>
              <p:cNvGrpSpPr/>
              <p:nvPr/>
            </p:nvGrpSpPr>
            <p:grpSpPr>
              <a:xfrm>
                <a:off x="11771" y="5018"/>
                <a:ext cx="1292" cy="1552"/>
                <a:chOff x="2280127" y="5049299"/>
                <a:chExt cx="953247" cy="1145607"/>
              </a:xfrm>
            </p:grpSpPr>
            <p:pic>
              <p:nvPicPr>
                <p:cNvPr id="92" name="图片 91"/>
                <p:cNvPicPr>
                  <a:picLocks noChangeAspect="1"/>
                </p:cNvPicPr>
                <p:nvPr>
                  <p:custDataLst>
                    <p:tags r:id="rId31"/>
                  </p:custDataLst>
                </p:nvPr>
              </p:nvPicPr>
              <p:blipFill>
                <a:blip r:embed="rId4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291597" y="5049299"/>
                  <a:ext cx="941777" cy="854700"/>
                </a:xfrm>
                <a:prstGeom prst="rect">
                  <a:avLst/>
                </a:prstGeom>
              </p:spPr>
            </p:pic>
            <p:sp>
              <p:nvSpPr>
                <p:cNvPr id="93" name="圆角矩形 92"/>
                <p:cNvSpPr/>
                <p:nvPr>
                  <p:custDataLst>
                    <p:tags r:id="rId32"/>
                  </p:custDataLst>
                </p:nvPr>
              </p:nvSpPr>
              <p:spPr>
                <a:xfrm>
                  <a:off x="2280127" y="5977369"/>
                  <a:ext cx="953247" cy="217537"/>
                </a:xfrm>
                <a:prstGeom prst="roundRect">
                  <a:avLst/>
                </a:prstGeom>
                <a:solidFill>
                  <a:srgbClr val="5F96C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003">
                  <a:schemeClr val="dk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Overflow="overflow" horzOverflow="overflow" vert="horz" wrap="square" numCol="1" spcCol="0" rtlCol="0" fromWordArt="0" anchor="ctr" anchorCtr="0" forceAA="0" compatLnSpc="1">
                  <a:noAutofit/>
                </a:bodyPr>
                <a:lstStyle/>
                <a:p>
                  <a:pPr lvl="0" algn="ctr">
                    <a:buClrTx/>
                    <a:buSzTx/>
                    <a:buFontTx/>
                  </a:pPr>
                  <a:r>
                    <a:rPr kumimoji="1" lang="en-US" altLang="zh-CN" sz="800" b="1" dirty="0">
                      <a:latin typeface="Noto Sans" panose="020B0502040504020204"/>
                      <a:ea typeface="Noto Sans" panose="020B0502040504020204" pitchFamily="34" charset="0"/>
                      <a:cs typeface="Noto Sans" panose="020B0502040504020204" pitchFamily="34" charset="0"/>
                      <a:sym typeface="+mn-ea"/>
                    </a:rPr>
                    <a:t>WhatsApp</a:t>
                  </a:r>
                </a:p>
              </p:txBody>
            </p:sp>
          </p:grpSp>
          <p:grpSp>
            <p:nvGrpSpPr>
              <p:cNvPr id="84" name="组合 83"/>
              <p:cNvGrpSpPr/>
              <p:nvPr/>
            </p:nvGrpSpPr>
            <p:grpSpPr>
              <a:xfrm>
                <a:off x="11770" y="6748"/>
                <a:ext cx="1324" cy="1552"/>
                <a:chOff x="1277628" y="6350174"/>
                <a:chExt cx="977339" cy="1145443"/>
              </a:xfrm>
            </p:grpSpPr>
            <p:pic>
              <p:nvPicPr>
                <p:cNvPr id="90" name="图片 89"/>
                <p:cNvPicPr>
                  <a:picLocks noChangeAspect="1"/>
                </p:cNvPicPr>
                <p:nvPr>
                  <p:custDataLst>
                    <p:tags r:id="rId29"/>
                  </p:custDataLst>
                </p:nvPr>
              </p:nvPicPr>
              <p:blipFill>
                <a:blip r:embed="rId4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91645" y="6350174"/>
                  <a:ext cx="962048" cy="877744"/>
                </a:xfrm>
                <a:prstGeom prst="rect">
                  <a:avLst/>
                </a:prstGeom>
              </p:spPr>
            </p:pic>
            <p:sp>
              <p:nvSpPr>
                <p:cNvPr id="91" name="圆角矩形 90"/>
                <p:cNvSpPr/>
                <p:nvPr>
                  <p:custDataLst>
                    <p:tags r:id="rId30"/>
                  </p:custDataLst>
                </p:nvPr>
              </p:nvSpPr>
              <p:spPr>
                <a:xfrm>
                  <a:off x="1277628" y="7285834"/>
                  <a:ext cx="977339" cy="209783"/>
                </a:xfrm>
                <a:prstGeom prst="roundRect">
                  <a:avLst/>
                </a:prstGeom>
                <a:solidFill>
                  <a:srgbClr val="5F96C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003">
                  <a:schemeClr val="dk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kumimoji="1" lang="en-US" altLang="zh-CN" sz="800" b="1" dirty="0">
                      <a:latin typeface="Noto Sans" panose="020B0502040504020204"/>
                      <a:ea typeface="Noto Sans" panose="020B0502040504020204" pitchFamily="34" charset="0"/>
                      <a:cs typeface="Noto Sans" panose="020B0502040504020204" pitchFamily="34" charset="0"/>
                    </a:rPr>
                    <a:t>Messenger</a:t>
                  </a:r>
                </a:p>
              </p:txBody>
            </p:sp>
          </p:grpSp>
          <p:grpSp>
            <p:nvGrpSpPr>
              <p:cNvPr id="85" name="组合 84"/>
              <p:cNvGrpSpPr/>
              <p:nvPr/>
            </p:nvGrpSpPr>
            <p:grpSpPr>
              <a:xfrm>
                <a:off x="10172" y="6745"/>
                <a:ext cx="1255" cy="1573"/>
                <a:chOff x="2756500" y="6341165"/>
                <a:chExt cx="925776" cy="1160308"/>
              </a:xfrm>
            </p:grpSpPr>
            <p:pic>
              <p:nvPicPr>
                <p:cNvPr id="88" name="图片 87"/>
                <p:cNvPicPr>
                  <a:picLocks noChangeAspect="1"/>
                </p:cNvPicPr>
                <p:nvPr>
                  <p:custDataLst>
                    <p:tags r:id="rId27"/>
                  </p:custDataLst>
                </p:nvPr>
              </p:nvPicPr>
              <p:blipFill>
                <a:blip r:embed="rId4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757805" y="6341165"/>
                  <a:ext cx="877114" cy="877114"/>
                </a:xfrm>
                <a:prstGeom prst="rect">
                  <a:avLst/>
                </a:prstGeom>
              </p:spPr>
            </p:pic>
            <p:sp>
              <p:nvSpPr>
                <p:cNvPr id="89" name="圆角矩形 88"/>
                <p:cNvSpPr/>
                <p:nvPr>
                  <p:custDataLst>
                    <p:tags r:id="rId28"/>
                  </p:custDataLst>
                </p:nvPr>
              </p:nvSpPr>
              <p:spPr>
                <a:xfrm>
                  <a:off x="2756500" y="7277644"/>
                  <a:ext cx="925776" cy="223829"/>
                </a:xfrm>
                <a:prstGeom prst="roundRect">
                  <a:avLst/>
                </a:prstGeom>
                <a:solidFill>
                  <a:srgbClr val="5F96C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003">
                  <a:schemeClr val="dk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vertOverflow="overflow" horzOverflow="overflow" vert="horz" wrap="square" numCol="1" spcCol="0" rtlCol="0" fromWordArt="0" anchor="ctr" anchorCtr="0" forceAA="0" compatLnSpc="1">
                  <a:noAutofit/>
                </a:bodyPr>
                <a:lstStyle/>
                <a:p>
                  <a:pPr lvl="0" algn="ctr">
                    <a:buClrTx/>
                    <a:buSzTx/>
                    <a:buFontTx/>
                  </a:pPr>
                  <a:r>
                    <a:rPr kumimoji="1" lang="en-US" altLang="zh-CN" sz="800" b="1" dirty="0">
                      <a:latin typeface="Noto Sans" panose="020B0502040504020204"/>
                      <a:ea typeface="Noto Sans" panose="020B0502040504020204" pitchFamily="34" charset="0"/>
                      <a:cs typeface="Noto Sans" panose="020B0502040504020204" pitchFamily="34" charset="0"/>
                      <a:sym typeface="+mn-ea"/>
                    </a:rPr>
                    <a:t>Facebook</a:t>
                  </a:r>
                </a:p>
              </p:txBody>
            </p:sp>
          </p:grpSp>
          <p:sp>
            <p:nvSpPr>
              <p:cNvPr id="86" name="圆角矩形 85"/>
              <p:cNvSpPr/>
              <p:nvPr>
                <p:custDataLst>
                  <p:tags r:id="rId25"/>
                </p:custDataLst>
              </p:nvPr>
            </p:nvSpPr>
            <p:spPr>
              <a:xfrm>
                <a:off x="8447" y="8026"/>
                <a:ext cx="1236" cy="284"/>
              </a:xfrm>
              <a:prstGeom prst="roundRect">
                <a:avLst/>
              </a:prstGeom>
              <a:solidFill>
                <a:srgbClr val="5F96C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003">
                <a:schemeClr val="dk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Overflow="overflow" horzOverflow="overflow" vert="horz" wrap="square" numCol="1" spcCol="0" rtlCol="0" fromWordArt="0" anchor="ctr" anchorCtr="0" forceAA="0" compatLnSpc="1">
                <a:noAutofit/>
              </a:bodyPr>
              <a:lstStyle/>
              <a:p>
                <a:pPr lvl="0" algn="ctr">
                  <a:buClrTx/>
                  <a:buSzTx/>
                  <a:buFontTx/>
                </a:pPr>
                <a:r>
                  <a:rPr kumimoji="1" lang="en-US" altLang="zh-CN" sz="800" b="1" dirty="0">
                    <a:latin typeface="Noto Sans" panose="020B0502040504020204"/>
                    <a:ea typeface="Noto Sans" panose="020B0502040504020204" pitchFamily="34" charset="0"/>
                    <a:cs typeface="Noto Sans" panose="020B0502040504020204" pitchFamily="34" charset="0"/>
                    <a:sym typeface="+mn-ea"/>
                  </a:rPr>
                  <a:t>LINE</a:t>
                </a:r>
              </a:p>
            </p:txBody>
          </p:sp>
          <p:pic>
            <p:nvPicPr>
              <p:cNvPr id="87" name="图片 86"/>
              <p:cNvPicPr>
                <a:picLocks noChangeAspect="1"/>
              </p:cNvPicPr>
              <p:nvPr>
                <p:custDataLst>
                  <p:tags r:id="rId26"/>
                </p:custDataLst>
              </p:nvPr>
            </p:nvPicPr>
            <p:blipFill rotWithShape="1">
              <a:blip r:embed="rId4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557" t="4574" r="4622" b="4193"/>
              <a:stretch>
                <a:fillRect/>
              </a:stretch>
            </p:blipFill>
            <p:spPr>
              <a:xfrm>
                <a:off x="8466" y="6801"/>
                <a:ext cx="1205" cy="1156"/>
              </a:xfrm>
              <a:prstGeom prst="rect">
                <a:avLst/>
              </a:prstGeom>
            </p:spPr>
          </p:pic>
        </p:grpSp>
        <p:pic>
          <p:nvPicPr>
            <p:cNvPr id="79" name="图片 78"/>
            <p:cNvPicPr>
              <a:picLocks noChangeAspect="1"/>
            </p:cNvPicPr>
            <p:nvPr>
              <p:custDataLst>
                <p:tags r:id="rId24"/>
              </p:custDataLst>
            </p:nvPr>
          </p:nvPicPr>
          <p:blipFill>
            <a:blip r:embed="rId45"/>
            <a:stretch>
              <a:fillRect/>
            </a:stretch>
          </p:blipFill>
          <p:spPr>
            <a:xfrm>
              <a:off x="8503" y="3065"/>
              <a:ext cx="462" cy="509"/>
            </a:xfrm>
            <a:prstGeom prst="rect">
              <a:avLst/>
            </a:prstGeom>
          </p:spPr>
        </p:pic>
        <p:pic>
          <p:nvPicPr>
            <p:cNvPr id="80" name="图片 79" descr="32313536303732303b32313536303730363b5168740375358bdd"/>
            <p:cNvPicPr>
              <a:picLocks noChangeAspect="1"/>
            </p:cNvPicPr>
            <p:nvPr/>
          </p:nvPicPr>
          <p:blipFill>
            <a:blip r:embed="rId46">
              <a:extLst>
                <a:ext uri="{96DAC541-7B7A-43D3-8B79-37D633B846F1}">
                  <asvg:svgBlip xmlns="" xmlns:asvg="http://schemas.microsoft.com/office/drawing/2016/SVG/main" r:embed="rId54"/>
                </a:ext>
              </a:extLst>
            </a:blip>
            <a:stretch>
              <a:fillRect/>
            </a:stretch>
          </p:blipFill>
          <p:spPr>
            <a:xfrm>
              <a:off x="6601" y="3109"/>
              <a:ext cx="422" cy="422"/>
            </a:xfrm>
            <a:prstGeom prst="rect">
              <a:avLst/>
            </a:prstGeom>
          </p:spPr>
        </p:pic>
      </p:grpSp>
      <p:sp>
        <p:nvSpPr>
          <p:cNvPr id="98" name="矩形 97"/>
          <p:cNvSpPr/>
          <p:nvPr>
            <p:custDataLst>
              <p:tags r:id="rId5"/>
            </p:custDataLst>
          </p:nvPr>
        </p:nvSpPr>
        <p:spPr>
          <a:xfrm>
            <a:off x="6320902" y="2014671"/>
            <a:ext cx="1744345" cy="47879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en-US" altLang="zh-CN" sz="1300" b="1" dirty="0">
                <a:latin typeface="Noto Sans" panose="020B0502040504020204"/>
                <a:ea typeface="Noto Sans" panose="020B0502040504020204" pitchFamily="34" charset="0"/>
                <a:cs typeface="Noto Sans" panose="020B0502040504020204" pitchFamily="34" charset="0"/>
                <a:sym typeface="+mn-ea"/>
              </a:rPr>
              <a:t>L1 Support</a:t>
            </a:r>
          </a:p>
        </p:txBody>
      </p:sp>
      <p:sp>
        <p:nvSpPr>
          <p:cNvPr id="99" name="矩形 98"/>
          <p:cNvSpPr/>
          <p:nvPr>
            <p:custDataLst>
              <p:tags r:id="rId6"/>
            </p:custDataLst>
          </p:nvPr>
        </p:nvSpPr>
        <p:spPr>
          <a:xfrm>
            <a:off x="9172687" y="2014671"/>
            <a:ext cx="1743710" cy="4794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en-US" altLang="zh-CN" sz="1300" b="1" dirty="0">
                <a:latin typeface="Noto Sans" panose="020B0502040504020204"/>
                <a:ea typeface="Noto Sans" panose="020B0502040504020204" pitchFamily="34" charset="0"/>
                <a:cs typeface="Noto Sans" panose="020B0502040504020204" pitchFamily="34" charset="0"/>
                <a:sym typeface="+mn-ea"/>
              </a:rPr>
              <a:t>L2 Support</a:t>
            </a:r>
          </a:p>
        </p:txBody>
      </p:sp>
      <p:sp>
        <p:nvSpPr>
          <p:cNvPr id="118" name="圆角矩形 117"/>
          <p:cNvSpPr/>
          <p:nvPr>
            <p:custDataLst>
              <p:tags r:id="rId7"/>
            </p:custDataLst>
          </p:nvPr>
        </p:nvSpPr>
        <p:spPr>
          <a:xfrm>
            <a:off x="6320902" y="2751271"/>
            <a:ext cx="1738630" cy="364490"/>
          </a:xfrm>
          <a:prstGeom prst="roundRect">
            <a:avLst>
              <a:gd name="adj" fmla="val 12321"/>
            </a:avLst>
          </a:prstGeom>
          <a:solidFill>
            <a:srgbClr val="9FA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 dirty="0">
                <a:latin typeface="Noto Sans" panose="020B0502040504020204"/>
                <a:ea typeface="Noto Sans" panose="020B0502040504020204" pitchFamily="34" charset="0"/>
                <a:cs typeface="Noto Sans" panose="020B0502040504020204" pitchFamily="34" charset="0"/>
              </a:rPr>
              <a:t>Technical Consultation</a:t>
            </a:r>
            <a:endParaRPr lang="zh-CN" altLang="en-US" sz="1100" dirty="0">
              <a:latin typeface="Noto Sans" panose="020B0502040504020204"/>
              <a:ea typeface="微软雅黑" panose="020B0503020204020204" charset="-122"/>
              <a:cs typeface="Noto Sans" panose="020B0502040504020204" pitchFamily="34" charset="0"/>
            </a:endParaRPr>
          </a:p>
        </p:txBody>
      </p:sp>
      <p:sp>
        <p:nvSpPr>
          <p:cNvPr id="126" name="圆角矩形 125"/>
          <p:cNvSpPr/>
          <p:nvPr>
            <p:custDataLst>
              <p:tags r:id="rId8"/>
            </p:custDataLst>
          </p:nvPr>
        </p:nvSpPr>
        <p:spPr>
          <a:xfrm>
            <a:off x="6314552" y="3341186"/>
            <a:ext cx="1744980" cy="364490"/>
          </a:xfrm>
          <a:prstGeom prst="roundRect">
            <a:avLst>
              <a:gd name="adj" fmla="val 12321"/>
            </a:avLst>
          </a:prstGeom>
          <a:solidFill>
            <a:srgbClr val="9FA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en-US" altLang="zh-CN" sz="1100" dirty="0">
                <a:latin typeface="Noto Sans" panose="020B0502040504020204"/>
                <a:ea typeface="Noto Sans" panose="020B0502040504020204" pitchFamily="34" charset="0"/>
                <a:cs typeface="Noto Sans" panose="020B0502040504020204" pitchFamily="34" charset="0"/>
                <a:sym typeface="+mn-ea"/>
              </a:rPr>
              <a:t>Service Arrangement</a:t>
            </a:r>
          </a:p>
        </p:txBody>
      </p:sp>
      <p:sp>
        <p:nvSpPr>
          <p:cNvPr id="127" name="圆角矩形 126"/>
          <p:cNvSpPr/>
          <p:nvPr>
            <p:custDataLst>
              <p:tags r:id="rId9"/>
            </p:custDataLst>
          </p:nvPr>
        </p:nvSpPr>
        <p:spPr>
          <a:xfrm>
            <a:off x="6320902" y="3913956"/>
            <a:ext cx="1744345" cy="353060"/>
          </a:xfrm>
          <a:prstGeom prst="roundRect">
            <a:avLst>
              <a:gd name="adj" fmla="val 12321"/>
            </a:avLst>
          </a:prstGeom>
          <a:solidFill>
            <a:srgbClr val="9FA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en-US" altLang="zh-CN" sz="1100" dirty="0" smtClean="0">
                <a:latin typeface="Noto Sans" panose="020B0502040504020204"/>
                <a:ea typeface="Noto Sans" panose="020B0502040504020204" pitchFamily="34" charset="0"/>
                <a:cs typeface="Noto Sans" panose="020B0502040504020204" pitchFamily="34" charset="0"/>
                <a:sym typeface="+mn-ea"/>
              </a:rPr>
              <a:t>RMA Spare </a:t>
            </a:r>
            <a:r>
              <a:rPr lang="en-US" altLang="zh-CN" sz="1100" dirty="0">
                <a:latin typeface="Noto Sans" panose="020B0502040504020204"/>
                <a:ea typeface="Noto Sans" panose="020B0502040504020204" pitchFamily="34" charset="0"/>
                <a:cs typeface="Noto Sans" panose="020B0502040504020204" pitchFamily="34" charset="0"/>
                <a:sym typeface="+mn-ea"/>
              </a:rPr>
              <a:t>parts </a:t>
            </a:r>
          </a:p>
        </p:txBody>
      </p:sp>
      <p:sp>
        <p:nvSpPr>
          <p:cNvPr id="129" name="圆角矩形 128"/>
          <p:cNvSpPr/>
          <p:nvPr>
            <p:custDataLst>
              <p:tags r:id="rId10"/>
            </p:custDataLst>
          </p:nvPr>
        </p:nvSpPr>
        <p:spPr>
          <a:xfrm>
            <a:off x="9172687" y="2751271"/>
            <a:ext cx="1732915" cy="364490"/>
          </a:xfrm>
          <a:prstGeom prst="roundRect">
            <a:avLst>
              <a:gd name="adj" fmla="val 12321"/>
            </a:avLst>
          </a:prstGeom>
          <a:solidFill>
            <a:srgbClr val="9FA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en-US" altLang="zh-CN" sz="1100" dirty="0">
                <a:latin typeface="Noto Sans" panose="020B0502040504020204"/>
                <a:ea typeface="Noto Sans" panose="020B0502040504020204" pitchFamily="34" charset="0"/>
                <a:cs typeface="Noto Sans" panose="020B0502040504020204" pitchFamily="34" charset="0"/>
                <a:sym typeface="+mn-ea"/>
              </a:rPr>
              <a:t>L2 Specialist</a:t>
            </a:r>
          </a:p>
        </p:txBody>
      </p:sp>
      <p:sp>
        <p:nvSpPr>
          <p:cNvPr id="131" name="圆角矩形 130"/>
          <p:cNvSpPr/>
          <p:nvPr>
            <p:custDataLst>
              <p:tags r:id="rId11"/>
            </p:custDataLst>
          </p:nvPr>
        </p:nvSpPr>
        <p:spPr>
          <a:xfrm>
            <a:off x="9267302" y="5384616"/>
            <a:ext cx="1649095" cy="368300"/>
          </a:xfrm>
          <a:prstGeom prst="roundRect">
            <a:avLst>
              <a:gd name="adj" fmla="val 12321"/>
            </a:avLst>
          </a:prstGeom>
          <a:solidFill>
            <a:srgbClr val="9FA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en-US" altLang="zh-CN" sz="1100" dirty="0">
                <a:latin typeface="Noto Sans" panose="020B0502040504020204"/>
                <a:ea typeface="Noto Sans" panose="020B0502040504020204" pitchFamily="34" charset="0"/>
                <a:cs typeface="Noto Sans" panose="020B0502040504020204" pitchFamily="34" charset="0"/>
                <a:sym typeface="+mn-ea"/>
              </a:rPr>
              <a:t>R&amp;D</a:t>
            </a:r>
          </a:p>
        </p:txBody>
      </p:sp>
      <p:sp>
        <p:nvSpPr>
          <p:cNvPr id="132" name="圆角矩形 131"/>
          <p:cNvSpPr/>
          <p:nvPr>
            <p:custDataLst>
              <p:tags r:id="rId12"/>
            </p:custDataLst>
          </p:nvPr>
        </p:nvSpPr>
        <p:spPr>
          <a:xfrm>
            <a:off x="9172687" y="3329121"/>
            <a:ext cx="1720850" cy="352425"/>
          </a:xfrm>
          <a:prstGeom prst="roundRect">
            <a:avLst>
              <a:gd name="adj" fmla="val 12321"/>
            </a:avLst>
          </a:prstGeom>
          <a:solidFill>
            <a:srgbClr val="9FA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r>
              <a:rPr lang="en-US" altLang="zh-CN" sz="1100" dirty="0">
                <a:latin typeface="Noto Sans" panose="020B0502040504020204"/>
                <a:ea typeface="Noto Sans" panose="020B0502040504020204" pitchFamily="34" charset="0"/>
                <a:cs typeface="Noto Sans" panose="020B0502040504020204" pitchFamily="34" charset="0"/>
                <a:sym typeface="+mn-ea"/>
              </a:rPr>
              <a:t>Local Engineer</a:t>
            </a:r>
          </a:p>
        </p:txBody>
      </p:sp>
      <p:sp>
        <p:nvSpPr>
          <p:cNvPr id="133" name="圆角矩形 132"/>
          <p:cNvSpPr/>
          <p:nvPr>
            <p:custDataLst>
              <p:tags r:id="rId13"/>
            </p:custDataLst>
          </p:nvPr>
        </p:nvSpPr>
        <p:spPr>
          <a:xfrm>
            <a:off x="9255872" y="4611994"/>
            <a:ext cx="1649730" cy="352425"/>
          </a:xfrm>
          <a:prstGeom prst="roundRect">
            <a:avLst>
              <a:gd name="adj" fmla="val 12321"/>
            </a:avLst>
          </a:prstGeom>
          <a:solidFill>
            <a:srgbClr val="E4BFB5"/>
          </a:solidFill>
          <a:ln>
            <a:solidFill>
              <a:schemeClr val="accent2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US" altLang="zh-CN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Noto Sans" panose="020B0502040504020204"/>
                <a:sym typeface="+mn-ea"/>
              </a:rPr>
              <a:t>Expert Engineer</a:t>
            </a:r>
          </a:p>
        </p:txBody>
      </p:sp>
      <p:sp>
        <p:nvSpPr>
          <p:cNvPr id="134" name="上箭头 133"/>
          <p:cNvSpPr/>
          <p:nvPr>
            <p:custDataLst>
              <p:tags r:id="rId14"/>
            </p:custDataLst>
          </p:nvPr>
        </p:nvSpPr>
        <p:spPr>
          <a:xfrm rot="5400000">
            <a:off x="8452597" y="3057976"/>
            <a:ext cx="390525" cy="906145"/>
          </a:xfrm>
          <a:prstGeom prst="up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200">
              <a:latin typeface="Noto Sans" panose="020B0502040504020204"/>
              <a:cs typeface="Noto Sans" panose="020B0502040504020204" pitchFamily="34" charset="0"/>
            </a:endParaRPr>
          </a:p>
        </p:txBody>
      </p:sp>
      <p:sp>
        <p:nvSpPr>
          <p:cNvPr id="135" name="上箭头 134"/>
          <p:cNvSpPr/>
          <p:nvPr>
            <p:custDataLst>
              <p:tags r:id="rId15"/>
            </p:custDataLst>
          </p:nvPr>
        </p:nvSpPr>
        <p:spPr>
          <a:xfrm rot="10800000">
            <a:off x="9892777" y="5064401"/>
            <a:ext cx="390525" cy="260350"/>
          </a:xfrm>
          <a:prstGeom prst="up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200">
              <a:latin typeface="Noto Sans" panose="020B0502040504020204"/>
              <a:cs typeface="Noto Sans" panose="020B0502040504020204" pitchFamily="34" charset="0"/>
            </a:endParaRPr>
          </a:p>
        </p:txBody>
      </p:sp>
      <p:sp>
        <p:nvSpPr>
          <p:cNvPr id="136" name="上箭头 135"/>
          <p:cNvSpPr/>
          <p:nvPr>
            <p:custDataLst>
              <p:tags r:id="rId16"/>
            </p:custDataLst>
          </p:nvPr>
        </p:nvSpPr>
        <p:spPr>
          <a:xfrm rot="10800000">
            <a:off x="9892777" y="3884111"/>
            <a:ext cx="390525" cy="554990"/>
          </a:xfrm>
          <a:prstGeom prst="up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200">
              <a:latin typeface="Noto Sans" panose="020B0502040504020204"/>
              <a:cs typeface="Noto Sans" panose="020B0502040504020204" pitchFamily="34" charset="0"/>
            </a:endParaRPr>
          </a:p>
        </p:txBody>
      </p:sp>
      <p:grpSp>
        <p:nvGrpSpPr>
          <p:cNvPr id="137" name="组合 136"/>
          <p:cNvGrpSpPr/>
          <p:nvPr/>
        </p:nvGrpSpPr>
        <p:grpSpPr>
          <a:xfrm>
            <a:off x="604633" y="4435926"/>
            <a:ext cx="8496300" cy="751840"/>
            <a:chOff x="905" y="6408"/>
            <a:chExt cx="13381" cy="1184"/>
          </a:xfrm>
        </p:grpSpPr>
        <p:sp>
          <p:nvSpPr>
            <p:cNvPr id="138" name="圆角矩形 137"/>
            <p:cNvSpPr/>
            <p:nvPr/>
          </p:nvSpPr>
          <p:spPr>
            <a:xfrm>
              <a:off x="905" y="6471"/>
              <a:ext cx="2382" cy="1016"/>
            </a:xfrm>
            <a:prstGeom prst="roundRect">
              <a:avLst/>
            </a:prstGeom>
            <a:solidFill>
              <a:srgbClr val="E4BFB5"/>
            </a:solidFill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Noto Sans" panose="020B0502040504020204"/>
              </a:endParaRPr>
            </a:p>
          </p:txBody>
        </p:sp>
        <p:sp>
          <p:nvSpPr>
            <p:cNvPr id="139" name="文本框 138"/>
            <p:cNvSpPr txBox="1"/>
            <p:nvPr>
              <p:custDataLst>
                <p:tags r:id="rId18"/>
              </p:custDataLst>
            </p:nvPr>
          </p:nvSpPr>
          <p:spPr>
            <a:xfrm>
              <a:off x="1133" y="6690"/>
              <a:ext cx="1932" cy="5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oto Sans" panose="020B0502040504020204"/>
                </a:rPr>
                <a:t>Partners</a:t>
              </a:r>
            </a:p>
          </p:txBody>
        </p:sp>
        <p:sp>
          <p:nvSpPr>
            <p:cNvPr id="140" name="右箭头 139"/>
            <p:cNvSpPr/>
            <p:nvPr/>
          </p:nvSpPr>
          <p:spPr>
            <a:xfrm>
              <a:off x="8388" y="6408"/>
              <a:ext cx="5898" cy="1184"/>
            </a:xfrm>
            <a:prstGeom prst="rightArrow">
              <a:avLst/>
            </a:prstGeom>
            <a:solidFill>
              <a:srgbClr val="E4BFB5"/>
            </a:solidFill>
            <a:ln>
              <a:solidFill>
                <a:schemeClr val="accent2"/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171450" indent="-171450" algn="ctr">
                <a:buFont typeface="Arial" panose="020B0604020202020204" pitchFamily="34" charset="0"/>
                <a:buChar char="•"/>
              </a:pPr>
              <a:r>
                <a:rPr lang="en-US" altLang="zh-CN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oto Sans" panose="020B0502040504020204"/>
                </a:rPr>
                <a:t>Enterprise Device SN</a:t>
              </a:r>
            </a:p>
            <a:p>
              <a:pPr marL="171450" indent="-171450" algn="ctr">
                <a:buFont typeface="Arial" panose="020B0604020202020204" pitchFamily="34" charset="0"/>
                <a:buChar char="•"/>
              </a:pPr>
              <a:r>
                <a:rPr lang="en-US" altLang="zh-CN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oto Sans" panose="020B0502040504020204"/>
                </a:rPr>
                <a:t>Register Partner Account</a:t>
              </a:r>
            </a:p>
          </p:txBody>
        </p:sp>
      </p:grpSp>
      <p:sp>
        <p:nvSpPr>
          <p:cNvPr id="160" name="上箭头 159"/>
          <p:cNvSpPr/>
          <p:nvPr>
            <p:custDataLst>
              <p:tags r:id="rId17"/>
            </p:custDataLst>
          </p:nvPr>
        </p:nvSpPr>
        <p:spPr>
          <a:xfrm rot="5400000">
            <a:off x="5614147" y="3057341"/>
            <a:ext cx="390525" cy="906145"/>
          </a:xfrm>
          <a:prstGeom prst="upArrow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sz="1200">
              <a:latin typeface="Noto Sans" panose="020B0502040504020204"/>
              <a:cs typeface="Noto Sans" panose="020B0502040504020204" pitchFamily="34" charset="0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5295185" y="5069894"/>
            <a:ext cx="344934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b="1" dirty="0">
                <a:latin typeface="Noto Sans" panose="020B0502040504020204"/>
              </a:rPr>
              <a:t>Direct Access to Expert Support Team</a:t>
            </a:r>
            <a:endParaRPr lang="en-US" altLang="zh-CN" sz="1400" dirty="0">
              <a:latin typeface="Noto Sans" panose="020B0502040504020204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5288553" y="5352494"/>
            <a:ext cx="273363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b="1" dirty="0">
                <a:latin typeface="Noto Sans" panose="020B0502040504020204"/>
              </a:rPr>
              <a:t>Minute-by-minute Response</a:t>
            </a:r>
          </a:p>
        </p:txBody>
      </p:sp>
      <p:sp>
        <p:nvSpPr>
          <p:cNvPr id="6" name="矩形 5"/>
          <p:cNvSpPr/>
          <p:nvPr/>
        </p:nvSpPr>
        <p:spPr>
          <a:xfrm>
            <a:off x="576734" y="1046214"/>
            <a:ext cx="106175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>
                <a:solidFill>
                  <a:srgbClr val="50555A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We offer </a:t>
            </a:r>
            <a:r>
              <a:rPr lang="en-US" altLang="zh-CN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free enterprise-level direct expert services </a:t>
            </a:r>
            <a:r>
              <a:rPr lang="en-US" altLang="zh-CN" dirty="0">
                <a:solidFill>
                  <a:srgbClr val="50555A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to key </a:t>
            </a:r>
            <a:r>
              <a:rPr lang="en-US" altLang="zh-CN" dirty="0">
                <a:solidFill>
                  <a:srgbClr val="50555A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artners, which </a:t>
            </a:r>
            <a:r>
              <a:rPr lang="en-US" altLang="zh-CN" dirty="0">
                <a:solidFill>
                  <a:srgbClr val="50555A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further saves you from investing in services.</a:t>
            </a:r>
          </a:p>
        </p:txBody>
      </p:sp>
    </p:spTree>
    <p:extLst>
      <p:ext uri="{BB962C8B-B14F-4D97-AF65-F5344CB8AC3E}">
        <p14:creationId xmlns:p14="http://schemas.microsoft.com/office/powerpoint/2010/main" val="3952482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76734" y="402155"/>
            <a:ext cx="10727332" cy="605684"/>
          </a:xfrm>
        </p:spPr>
        <p:txBody>
          <a:bodyPr/>
          <a:lstStyle/>
          <a:p>
            <a:r>
              <a:rPr lang="en-US" altLang="zh-CN" dirty="0" err="1">
                <a:solidFill>
                  <a:schemeClr val="tx1"/>
                </a:solidFill>
                <a:latin typeface="Noto Sans Black" panose="020B0A02040504020204"/>
              </a:rPr>
              <a:t>Ruijie</a:t>
            </a:r>
            <a:r>
              <a:rPr lang="en-US" altLang="zh-CN" dirty="0">
                <a:solidFill>
                  <a:schemeClr val="tx1"/>
                </a:solidFill>
                <a:latin typeface="Noto Sans Black" panose="020B0A02040504020204"/>
              </a:rPr>
              <a:t> Service Platform: </a:t>
            </a:r>
            <a:r>
              <a:rPr lang="en-US" altLang="zh-CN" dirty="0">
                <a:latin typeface="Noto Sans Black" panose="020B0A02040504020204"/>
              </a:rPr>
              <a:t>Global Service Hotline</a:t>
            </a:r>
          </a:p>
        </p:txBody>
      </p:sp>
      <p:sp>
        <p:nvSpPr>
          <p:cNvPr id="110" name="内容占位符 2"/>
          <p:cNvSpPr txBox="1"/>
          <p:nvPr/>
        </p:nvSpPr>
        <p:spPr>
          <a:xfrm>
            <a:off x="576000" y="1080215"/>
            <a:ext cx="10728066" cy="429947"/>
          </a:xfrm>
          <a:prstGeom prst="rect">
            <a:avLst/>
          </a:prstGeom>
        </p:spPr>
        <p:txBody>
          <a:bodyPr/>
          <a:lstStyle>
            <a:lvl1pPr marL="0" indent="0" algn="l" defTabSz="863600" rtl="0" eaLnBrk="1" latinLnBrk="0" hangingPunct="1">
              <a:lnSpc>
                <a:spcPct val="120000"/>
              </a:lnSpc>
              <a:spcBef>
                <a:spcPts val="945"/>
              </a:spcBef>
              <a:buFont typeface="Arial" panose="020B0604020202020204" pitchFamily="34" charset="0"/>
              <a:buNone/>
              <a:defRPr sz="1200" kern="1200">
                <a:solidFill>
                  <a:srgbClr val="50555A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431800" indent="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None/>
              <a:defRPr sz="2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1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19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437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8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86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04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22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ccess </a:t>
            </a:r>
            <a:r>
              <a:rPr lang="en-US" altLang="zh-CN" sz="18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nstant communication</a:t>
            </a:r>
            <a:r>
              <a:rPr lang="en-US" altLang="zh-CN" sz="18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through </a:t>
            </a:r>
            <a:r>
              <a:rPr lang="en-US" altLang="zh-CN" sz="18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world-wide</a:t>
            </a:r>
            <a:r>
              <a:rPr lang="en-US" altLang="zh-CN" sz="18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service hotline for consultation </a:t>
            </a:r>
            <a:r>
              <a:rPr lang="en-US" altLang="zh-CN" sz="18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freely</a:t>
            </a:r>
            <a:r>
              <a:rPr lang="en-US" altLang="zh-CN" sz="18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.</a:t>
            </a:r>
          </a:p>
          <a:p>
            <a:endParaRPr lang="en-US" altLang="zh-CN" sz="1800" dirty="0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67" name="文本框 66">
            <a:hlinkClick r:id="rId2"/>
          </p:cNvPr>
          <p:cNvSpPr txBox="1"/>
          <p:nvPr/>
        </p:nvSpPr>
        <p:spPr>
          <a:xfrm>
            <a:off x="483068" y="5902568"/>
            <a:ext cx="105599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SzPct val="25000"/>
            </a:pPr>
            <a:r>
              <a:rPr lang="en-US" altLang="zh-CN" sz="1200" u="sng" dirty="0">
                <a:solidFill>
                  <a:srgbClr val="FF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hlinkClick r:id="rId3"/>
              </a:rPr>
              <a:t>https://www.ruijienetworks.com/support/hotline </a:t>
            </a:r>
            <a:endParaRPr lang="en-US" altLang="zh-CN" sz="1200" u="sng" dirty="0">
              <a:solidFill>
                <a:srgbClr val="FF0000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68" name="矩形 67"/>
          <p:cNvSpPr/>
          <p:nvPr/>
        </p:nvSpPr>
        <p:spPr>
          <a:xfrm>
            <a:off x="4198026" y="5726624"/>
            <a:ext cx="312457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SzPct val="25000"/>
            </a:pPr>
            <a:r>
              <a:rPr lang="en-US" altLang="zh-CN" sz="1200" dirty="0">
                <a:solidFill>
                  <a:srgbClr val="0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 panose="020B0604020202020204" pitchFamily="34" charset="0"/>
              </a:rPr>
              <a:t>Please refer to the link for latest update:</a:t>
            </a:r>
          </a:p>
        </p:txBody>
      </p:sp>
      <p:grpSp>
        <p:nvGrpSpPr>
          <p:cNvPr id="69" name="íṩľïḑè"/>
          <p:cNvGrpSpPr/>
          <p:nvPr/>
        </p:nvGrpSpPr>
        <p:grpSpPr>
          <a:xfrm>
            <a:off x="1246821" y="2156015"/>
            <a:ext cx="8377096" cy="3671825"/>
            <a:chOff x="-1" y="0"/>
            <a:chExt cx="10566544" cy="5011659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304" name="îSļîďè"/>
            <p:cNvSpPr/>
            <p:nvPr/>
          </p:nvSpPr>
          <p:spPr>
            <a:xfrm>
              <a:off x="4441112" y="2119210"/>
              <a:ext cx="2015623" cy="21486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364" y="1490"/>
                  </a:moveTo>
                  <a:cubicBezTo>
                    <a:pt x="12592" y="1490"/>
                    <a:pt x="12592" y="1490"/>
                    <a:pt x="12592" y="1490"/>
                  </a:cubicBezTo>
                  <a:cubicBezTo>
                    <a:pt x="12592" y="1648"/>
                    <a:pt x="12718" y="1670"/>
                    <a:pt x="12768" y="1738"/>
                  </a:cubicBezTo>
                  <a:cubicBezTo>
                    <a:pt x="12869" y="1851"/>
                    <a:pt x="13121" y="1761"/>
                    <a:pt x="13298" y="1828"/>
                  </a:cubicBezTo>
                  <a:cubicBezTo>
                    <a:pt x="13651" y="1941"/>
                    <a:pt x="14156" y="2099"/>
                    <a:pt x="14535" y="2099"/>
                  </a:cubicBezTo>
                  <a:cubicBezTo>
                    <a:pt x="14913" y="2099"/>
                    <a:pt x="15014" y="1941"/>
                    <a:pt x="15367" y="1941"/>
                  </a:cubicBezTo>
                  <a:cubicBezTo>
                    <a:pt x="15569" y="1941"/>
                    <a:pt x="15695" y="2076"/>
                    <a:pt x="15948" y="2076"/>
                  </a:cubicBezTo>
                  <a:cubicBezTo>
                    <a:pt x="16099" y="2076"/>
                    <a:pt x="16099" y="2031"/>
                    <a:pt x="16250" y="2009"/>
                  </a:cubicBezTo>
                  <a:cubicBezTo>
                    <a:pt x="16326" y="2167"/>
                    <a:pt x="16478" y="2302"/>
                    <a:pt x="16478" y="2505"/>
                  </a:cubicBezTo>
                  <a:cubicBezTo>
                    <a:pt x="16478" y="2596"/>
                    <a:pt x="16301" y="2957"/>
                    <a:pt x="16250" y="3070"/>
                  </a:cubicBezTo>
                  <a:cubicBezTo>
                    <a:pt x="16023" y="3047"/>
                    <a:pt x="15821" y="2596"/>
                    <a:pt x="15645" y="2415"/>
                  </a:cubicBezTo>
                  <a:cubicBezTo>
                    <a:pt x="15645" y="2596"/>
                    <a:pt x="15645" y="2596"/>
                    <a:pt x="15645" y="2596"/>
                  </a:cubicBezTo>
                  <a:cubicBezTo>
                    <a:pt x="16705" y="4266"/>
                    <a:pt x="16705" y="4266"/>
                    <a:pt x="16705" y="4266"/>
                  </a:cubicBezTo>
                  <a:cubicBezTo>
                    <a:pt x="16629" y="4469"/>
                    <a:pt x="16982" y="4920"/>
                    <a:pt x="17134" y="5033"/>
                  </a:cubicBezTo>
                  <a:cubicBezTo>
                    <a:pt x="17134" y="5552"/>
                    <a:pt x="17134" y="5552"/>
                    <a:pt x="17134" y="5552"/>
                  </a:cubicBezTo>
                  <a:cubicBezTo>
                    <a:pt x="17260" y="5823"/>
                    <a:pt x="17462" y="5823"/>
                    <a:pt x="17638" y="6026"/>
                  </a:cubicBezTo>
                  <a:cubicBezTo>
                    <a:pt x="17840" y="6275"/>
                    <a:pt x="17714" y="6523"/>
                    <a:pt x="17916" y="6703"/>
                  </a:cubicBezTo>
                  <a:cubicBezTo>
                    <a:pt x="18093" y="6861"/>
                    <a:pt x="18219" y="6884"/>
                    <a:pt x="18421" y="6997"/>
                  </a:cubicBezTo>
                  <a:cubicBezTo>
                    <a:pt x="18597" y="7132"/>
                    <a:pt x="18698" y="7539"/>
                    <a:pt x="19051" y="7539"/>
                  </a:cubicBezTo>
                  <a:cubicBezTo>
                    <a:pt x="19051" y="7697"/>
                    <a:pt x="19152" y="7742"/>
                    <a:pt x="19051" y="7855"/>
                  </a:cubicBezTo>
                  <a:cubicBezTo>
                    <a:pt x="19203" y="7945"/>
                    <a:pt x="19354" y="8261"/>
                    <a:pt x="19531" y="8261"/>
                  </a:cubicBezTo>
                  <a:cubicBezTo>
                    <a:pt x="19707" y="8261"/>
                    <a:pt x="19733" y="8148"/>
                    <a:pt x="19859" y="8103"/>
                  </a:cubicBezTo>
                  <a:cubicBezTo>
                    <a:pt x="20036" y="8058"/>
                    <a:pt x="20136" y="8125"/>
                    <a:pt x="20313" y="8103"/>
                  </a:cubicBezTo>
                  <a:cubicBezTo>
                    <a:pt x="20742" y="8035"/>
                    <a:pt x="21146" y="7900"/>
                    <a:pt x="21524" y="7809"/>
                  </a:cubicBezTo>
                  <a:cubicBezTo>
                    <a:pt x="21575" y="7855"/>
                    <a:pt x="21600" y="7900"/>
                    <a:pt x="21600" y="7945"/>
                  </a:cubicBezTo>
                  <a:cubicBezTo>
                    <a:pt x="21600" y="8509"/>
                    <a:pt x="21121" y="9254"/>
                    <a:pt x="20843" y="9592"/>
                  </a:cubicBezTo>
                  <a:cubicBezTo>
                    <a:pt x="20490" y="9999"/>
                    <a:pt x="20364" y="10360"/>
                    <a:pt x="19935" y="10631"/>
                  </a:cubicBezTo>
                  <a:cubicBezTo>
                    <a:pt x="19203" y="11150"/>
                    <a:pt x="18421" y="11308"/>
                    <a:pt x="18143" y="12211"/>
                  </a:cubicBezTo>
                  <a:cubicBezTo>
                    <a:pt x="18067" y="12459"/>
                    <a:pt x="17764" y="12527"/>
                    <a:pt x="17764" y="12797"/>
                  </a:cubicBezTo>
                  <a:cubicBezTo>
                    <a:pt x="17764" y="13113"/>
                    <a:pt x="17865" y="13249"/>
                    <a:pt x="17865" y="13542"/>
                  </a:cubicBezTo>
                  <a:cubicBezTo>
                    <a:pt x="17865" y="13881"/>
                    <a:pt x="18269" y="14061"/>
                    <a:pt x="18269" y="14242"/>
                  </a:cubicBezTo>
                  <a:cubicBezTo>
                    <a:pt x="18269" y="14310"/>
                    <a:pt x="18219" y="14377"/>
                    <a:pt x="18193" y="14400"/>
                  </a:cubicBezTo>
                  <a:cubicBezTo>
                    <a:pt x="18193" y="14648"/>
                    <a:pt x="18193" y="14648"/>
                    <a:pt x="18193" y="14648"/>
                  </a:cubicBezTo>
                  <a:cubicBezTo>
                    <a:pt x="18193" y="14806"/>
                    <a:pt x="18168" y="14987"/>
                    <a:pt x="18168" y="15258"/>
                  </a:cubicBezTo>
                  <a:cubicBezTo>
                    <a:pt x="18219" y="15325"/>
                    <a:pt x="18244" y="15393"/>
                    <a:pt x="18244" y="15461"/>
                  </a:cubicBezTo>
                  <a:cubicBezTo>
                    <a:pt x="18244" y="16251"/>
                    <a:pt x="16780" y="16161"/>
                    <a:pt x="16654" y="16815"/>
                  </a:cubicBezTo>
                  <a:cubicBezTo>
                    <a:pt x="16503" y="16838"/>
                    <a:pt x="16326" y="16996"/>
                    <a:pt x="16326" y="17108"/>
                  </a:cubicBezTo>
                  <a:cubicBezTo>
                    <a:pt x="16326" y="17334"/>
                    <a:pt x="16629" y="17470"/>
                    <a:pt x="16629" y="17786"/>
                  </a:cubicBezTo>
                  <a:cubicBezTo>
                    <a:pt x="16629" y="17944"/>
                    <a:pt x="16604" y="18260"/>
                    <a:pt x="16553" y="18350"/>
                  </a:cubicBezTo>
                  <a:cubicBezTo>
                    <a:pt x="16478" y="18440"/>
                    <a:pt x="16301" y="18395"/>
                    <a:pt x="16225" y="18418"/>
                  </a:cubicBezTo>
                  <a:cubicBezTo>
                    <a:pt x="15948" y="18553"/>
                    <a:pt x="15796" y="18643"/>
                    <a:pt x="15670" y="18892"/>
                  </a:cubicBezTo>
                  <a:cubicBezTo>
                    <a:pt x="15746" y="18937"/>
                    <a:pt x="15821" y="19004"/>
                    <a:pt x="15821" y="19095"/>
                  </a:cubicBezTo>
                  <a:cubicBezTo>
                    <a:pt x="15821" y="19388"/>
                    <a:pt x="15519" y="19591"/>
                    <a:pt x="15393" y="19727"/>
                  </a:cubicBezTo>
                  <a:cubicBezTo>
                    <a:pt x="15140" y="19930"/>
                    <a:pt x="15115" y="20155"/>
                    <a:pt x="14938" y="20359"/>
                  </a:cubicBezTo>
                  <a:cubicBezTo>
                    <a:pt x="14661" y="20675"/>
                    <a:pt x="14535" y="20968"/>
                    <a:pt x="14080" y="21171"/>
                  </a:cubicBezTo>
                  <a:cubicBezTo>
                    <a:pt x="13879" y="21239"/>
                    <a:pt x="13601" y="21171"/>
                    <a:pt x="13576" y="21352"/>
                  </a:cubicBezTo>
                  <a:cubicBezTo>
                    <a:pt x="13424" y="21352"/>
                    <a:pt x="13349" y="21419"/>
                    <a:pt x="13248" y="21419"/>
                  </a:cubicBezTo>
                  <a:cubicBezTo>
                    <a:pt x="13121" y="21419"/>
                    <a:pt x="13046" y="21307"/>
                    <a:pt x="12920" y="21307"/>
                  </a:cubicBezTo>
                  <a:cubicBezTo>
                    <a:pt x="12465" y="21307"/>
                    <a:pt x="12188" y="21600"/>
                    <a:pt x="11759" y="21600"/>
                  </a:cubicBezTo>
                  <a:cubicBezTo>
                    <a:pt x="11582" y="21600"/>
                    <a:pt x="11481" y="21510"/>
                    <a:pt x="11406" y="21419"/>
                  </a:cubicBezTo>
                  <a:cubicBezTo>
                    <a:pt x="11330" y="21419"/>
                    <a:pt x="11330" y="21442"/>
                    <a:pt x="11305" y="21465"/>
                  </a:cubicBezTo>
                  <a:cubicBezTo>
                    <a:pt x="11305" y="21261"/>
                    <a:pt x="11179" y="21036"/>
                    <a:pt x="11103" y="20968"/>
                  </a:cubicBezTo>
                  <a:cubicBezTo>
                    <a:pt x="11179" y="20878"/>
                    <a:pt x="11229" y="20810"/>
                    <a:pt x="11229" y="20697"/>
                  </a:cubicBezTo>
                  <a:cubicBezTo>
                    <a:pt x="11229" y="20539"/>
                    <a:pt x="10926" y="20246"/>
                    <a:pt x="10876" y="20155"/>
                  </a:cubicBezTo>
                  <a:cubicBezTo>
                    <a:pt x="10472" y="19546"/>
                    <a:pt x="9967" y="18959"/>
                    <a:pt x="9967" y="18079"/>
                  </a:cubicBezTo>
                  <a:cubicBezTo>
                    <a:pt x="9967" y="17921"/>
                    <a:pt x="9967" y="17876"/>
                    <a:pt x="9967" y="17808"/>
                  </a:cubicBezTo>
                  <a:cubicBezTo>
                    <a:pt x="9967" y="17673"/>
                    <a:pt x="9816" y="17628"/>
                    <a:pt x="9740" y="17470"/>
                  </a:cubicBezTo>
                  <a:cubicBezTo>
                    <a:pt x="9437" y="17018"/>
                    <a:pt x="9084" y="16634"/>
                    <a:pt x="9084" y="15980"/>
                  </a:cubicBezTo>
                  <a:cubicBezTo>
                    <a:pt x="9084" y="15280"/>
                    <a:pt x="9791" y="15122"/>
                    <a:pt x="9791" y="14581"/>
                  </a:cubicBezTo>
                  <a:cubicBezTo>
                    <a:pt x="9791" y="14332"/>
                    <a:pt x="9690" y="14242"/>
                    <a:pt x="9639" y="14016"/>
                  </a:cubicBezTo>
                  <a:cubicBezTo>
                    <a:pt x="9564" y="13587"/>
                    <a:pt x="9488" y="13452"/>
                    <a:pt x="9362" y="13204"/>
                  </a:cubicBezTo>
                  <a:cubicBezTo>
                    <a:pt x="9286" y="13001"/>
                    <a:pt x="9336" y="12775"/>
                    <a:pt x="9185" y="12594"/>
                  </a:cubicBezTo>
                  <a:cubicBezTo>
                    <a:pt x="8882" y="12278"/>
                    <a:pt x="8251" y="11917"/>
                    <a:pt x="8251" y="11466"/>
                  </a:cubicBezTo>
                  <a:cubicBezTo>
                    <a:pt x="8251" y="11353"/>
                    <a:pt x="8428" y="11105"/>
                    <a:pt x="8504" y="11060"/>
                  </a:cubicBezTo>
                  <a:cubicBezTo>
                    <a:pt x="8479" y="10969"/>
                    <a:pt x="8504" y="10947"/>
                    <a:pt x="8504" y="10902"/>
                  </a:cubicBezTo>
                  <a:cubicBezTo>
                    <a:pt x="8504" y="10789"/>
                    <a:pt x="8504" y="10495"/>
                    <a:pt x="8630" y="10405"/>
                  </a:cubicBezTo>
                  <a:cubicBezTo>
                    <a:pt x="8504" y="10179"/>
                    <a:pt x="8302" y="9999"/>
                    <a:pt x="7923" y="9999"/>
                  </a:cubicBezTo>
                  <a:cubicBezTo>
                    <a:pt x="7721" y="9999"/>
                    <a:pt x="7545" y="9999"/>
                    <a:pt x="7444" y="9999"/>
                  </a:cubicBezTo>
                  <a:cubicBezTo>
                    <a:pt x="7116" y="9999"/>
                    <a:pt x="7040" y="9412"/>
                    <a:pt x="6586" y="9412"/>
                  </a:cubicBezTo>
                  <a:cubicBezTo>
                    <a:pt x="6031" y="9412"/>
                    <a:pt x="5627" y="9638"/>
                    <a:pt x="5198" y="9773"/>
                  </a:cubicBezTo>
                  <a:cubicBezTo>
                    <a:pt x="5021" y="9818"/>
                    <a:pt x="4971" y="9931"/>
                    <a:pt x="4820" y="9931"/>
                  </a:cubicBezTo>
                  <a:cubicBezTo>
                    <a:pt x="4643" y="9931"/>
                    <a:pt x="4365" y="9796"/>
                    <a:pt x="4138" y="9796"/>
                  </a:cubicBezTo>
                  <a:cubicBezTo>
                    <a:pt x="3709" y="9796"/>
                    <a:pt x="3507" y="9999"/>
                    <a:pt x="3079" y="9999"/>
                  </a:cubicBezTo>
                  <a:cubicBezTo>
                    <a:pt x="2952" y="9999"/>
                    <a:pt x="2801" y="9931"/>
                    <a:pt x="2750" y="9908"/>
                  </a:cubicBezTo>
                  <a:cubicBezTo>
                    <a:pt x="2448" y="9705"/>
                    <a:pt x="1792" y="9367"/>
                    <a:pt x="1564" y="9051"/>
                  </a:cubicBezTo>
                  <a:cubicBezTo>
                    <a:pt x="1337" y="8757"/>
                    <a:pt x="1287" y="8509"/>
                    <a:pt x="1009" y="8329"/>
                  </a:cubicBezTo>
                  <a:cubicBezTo>
                    <a:pt x="934" y="8261"/>
                    <a:pt x="328" y="7809"/>
                    <a:pt x="328" y="7764"/>
                  </a:cubicBezTo>
                  <a:cubicBezTo>
                    <a:pt x="278" y="7697"/>
                    <a:pt x="252" y="7674"/>
                    <a:pt x="177" y="7629"/>
                  </a:cubicBezTo>
                  <a:cubicBezTo>
                    <a:pt x="227" y="7629"/>
                    <a:pt x="227" y="7629"/>
                    <a:pt x="227" y="7629"/>
                  </a:cubicBezTo>
                  <a:cubicBezTo>
                    <a:pt x="227" y="7471"/>
                    <a:pt x="177" y="7403"/>
                    <a:pt x="177" y="7313"/>
                  </a:cubicBezTo>
                  <a:cubicBezTo>
                    <a:pt x="177" y="7155"/>
                    <a:pt x="76" y="7110"/>
                    <a:pt x="0" y="6974"/>
                  </a:cubicBezTo>
                  <a:cubicBezTo>
                    <a:pt x="252" y="6861"/>
                    <a:pt x="454" y="6320"/>
                    <a:pt x="454" y="6071"/>
                  </a:cubicBezTo>
                  <a:cubicBezTo>
                    <a:pt x="454" y="5643"/>
                    <a:pt x="252" y="5372"/>
                    <a:pt x="252" y="4966"/>
                  </a:cubicBezTo>
                  <a:cubicBezTo>
                    <a:pt x="252" y="4762"/>
                    <a:pt x="505" y="4650"/>
                    <a:pt x="555" y="4492"/>
                  </a:cubicBezTo>
                  <a:cubicBezTo>
                    <a:pt x="707" y="4108"/>
                    <a:pt x="1035" y="3566"/>
                    <a:pt x="1312" y="3250"/>
                  </a:cubicBezTo>
                  <a:cubicBezTo>
                    <a:pt x="1464" y="3047"/>
                    <a:pt x="1741" y="3070"/>
                    <a:pt x="1943" y="2979"/>
                  </a:cubicBezTo>
                  <a:cubicBezTo>
                    <a:pt x="2120" y="2889"/>
                    <a:pt x="2397" y="2686"/>
                    <a:pt x="2448" y="2528"/>
                  </a:cubicBezTo>
                  <a:cubicBezTo>
                    <a:pt x="2574" y="2167"/>
                    <a:pt x="2422" y="2009"/>
                    <a:pt x="2624" y="1738"/>
                  </a:cubicBezTo>
                  <a:cubicBezTo>
                    <a:pt x="2927" y="1422"/>
                    <a:pt x="3306" y="1106"/>
                    <a:pt x="3583" y="813"/>
                  </a:cubicBezTo>
                  <a:cubicBezTo>
                    <a:pt x="3558" y="813"/>
                    <a:pt x="3558" y="813"/>
                    <a:pt x="3558" y="813"/>
                  </a:cubicBezTo>
                  <a:cubicBezTo>
                    <a:pt x="3659" y="700"/>
                    <a:pt x="3684" y="609"/>
                    <a:pt x="3785" y="542"/>
                  </a:cubicBezTo>
                  <a:cubicBezTo>
                    <a:pt x="4063" y="722"/>
                    <a:pt x="4340" y="790"/>
                    <a:pt x="4719" y="790"/>
                  </a:cubicBezTo>
                  <a:cubicBezTo>
                    <a:pt x="4971" y="790"/>
                    <a:pt x="4996" y="655"/>
                    <a:pt x="5148" y="609"/>
                  </a:cubicBezTo>
                  <a:cubicBezTo>
                    <a:pt x="5577" y="406"/>
                    <a:pt x="6409" y="135"/>
                    <a:pt x="6889" y="135"/>
                  </a:cubicBezTo>
                  <a:cubicBezTo>
                    <a:pt x="7065" y="135"/>
                    <a:pt x="7192" y="226"/>
                    <a:pt x="7293" y="226"/>
                  </a:cubicBezTo>
                  <a:cubicBezTo>
                    <a:pt x="7419" y="226"/>
                    <a:pt x="7595" y="90"/>
                    <a:pt x="7747" y="90"/>
                  </a:cubicBezTo>
                  <a:cubicBezTo>
                    <a:pt x="7898" y="90"/>
                    <a:pt x="7974" y="158"/>
                    <a:pt x="8100" y="158"/>
                  </a:cubicBezTo>
                  <a:cubicBezTo>
                    <a:pt x="8302" y="158"/>
                    <a:pt x="8327" y="0"/>
                    <a:pt x="8529" y="0"/>
                  </a:cubicBezTo>
                  <a:cubicBezTo>
                    <a:pt x="8756" y="0"/>
                    <a:pt x="8680" y="181"/>
                    <a:pt x="8857" y="181"/>
                  </a:cubicBezTo>
                  <a:cubicBezTo>
                    <a:pt x="8933" y="181"/>
                    <a:pt x="8958" y="135"/>
                    <a:pt x="9034" y="135"/>
                  </a:cubicBezTo>
                  <a:cubicBezTo>
                    <a:pt x="9034" y="271"/>
                    <a:pt x="8857" y="248"/>
                    <a:pt x="8857" y="384"/>
                  </a:cubicBezTo>
                  <a:cubicBezTo>
                    <a:pt x="8857" y="474"/>
                    <a:pt x="9008" y="519"/>
                    <a:pt x="9008" y="609"/>
                  </a:cubicBezTo>
                  <a:cubicBezTo>
                    <a:pt x="9008" y="745"/>
                    <a:pt x="8857" y="835"/>
                    <a:pt x="8857" y="993"/>
                  </a:cubicBezTo>
                  <a:cubicBezTo>
                    <a:pt x="8857" y="1241"/>
                    <a:pt x="9160" y="1445"/>
                    <a:pt x="9362" y="1445"/>
                  </a:cubicBezTo>
                  <a:cubicBezTo>
                    <a:pt x="9513" y="1445"/>
                    <a:pt x="9589" y="1445"/>
                    <a:pt x="9690" y="1445"/>
                  </a:cubicBezTo>
                  <a:cubicBezTo>
                    <a:pt x="10396" y="1445"/>
                    <a:pt x="10674" y="2257"/>
                    <a:pt x="11481" y="2257"/>
                  </a:cubicBezTo>
                  <a:cubicBezTo>
                    <a:pt x="11582" y="2257"/>
                    <a:pt x="11708" y="2144"/>
                    <a:pt x="11708" y="2099"/>
                  </a:cubicBezTo>
                  <a:cubicBezTo>
                    <a:pt x="11708" y="2031"/>
                    <a:pt x="11708" y="1964"/>
                    <a:pt x="11708" y="1896"/>
                  </a:cubicBezTo>
                  <a:cubicBezTo>
                    <a:pt x="11708" y="1580"/>
                    <a:pt x="11986" y="1580"/>
                    <a:pt x="12314" y="1490"/>
                  </a:cubicBezTo>
                  <a:lnTo>
                    <a:pt x="12364" y="1490"/>
                  </a:ln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/>
              <a:endParaRPr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grpSp>
          <p:nvGrpSpPr>
            <p:cNvPr id="71" name="iṡľîdê"/>
            <p:cNvGrpSpPr/>
            <p:nvPr/>
          </p:nvGrpSpPr>
          <p:grpSpPr>
            <a:xfrm>
              <a:off x="2554663" y="2889781"/>
              <a:ext cx="1378378" cy="2121878"/>
              <a:chOff x="0" y="0"/>
              <a:chExt cx="1378376" cy="2121876"/>
            </a:xfrm>
            <a:grpFill/>
          </p:grpSpPr>
          <p:sp>
            <p:nvSpPr>
              <p:cNvPr id="301" name="iṣľiḓè"/>
              <p:cNvSpPr/>
              <p:nvPr/>
            </p:nvSpPr>
            <p:spPr>
              <a:xfrm>
                <a:off x="903945" y="347848"/>
                <a:ext cx="70184" cy="5351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7200" y="0"/>
                    </a:moveTo>
                    <a:cubicBezTo>
                      <a:pt x="9360" y="939"/>
                      <a:pt x="11520" y="3757"/>
                      <a:pt x="14400" y="3757"/>
                    </a:cubicBezTo>
                    <a:cubicBezTo>
                      <a:pt x="15120" y="8452"/>
                      <a:pt x="18000" y="4696"/>
                      <a:pt x="19440" y="4696"/>
                    </a:cubicBezTo>
                    <a:cubicBezTo>
                      <a:pt x="20880" y="4696"/>
                      <a:pt x="21600" y="7513"/>
                      <a:pt x="21600" y="8452"/>
                    </a:cubicBezTo>
                    <a:cubicBezTo>
                      <a:pt x="21600" y="11270"/>
                      <a:pt x="16560" y="21600"/>
                      <a:pt x="12960" y="21600"/>
                    </a:cubicBezTo>
                    <a:cubicBezTo>
                      <a:pt x="7920" y="21600"/>
                      <a:pt x="0" y="14087"/>
                      <a:pt x="0" y="10330"/>
                    </a:cubicBezTo>
                    <a:cubicBezTo>
                      <a:pt x="0" y="3757"/>
                      <a:pt x="2160" y="0"/>
                      <a:pt x="6480" y="0"/>
                    </a:cubicBezTo>
                    <a:cubicBezTo>
                      <a:pt x="6480" y="0"/>
                      <a:pt x="7200" y="0"/>
                      <a:pt x="7200" y="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302" name="íS1ïďè"/>
              <p:cNvSpPr/>
              <p:nvPr/>
            </p:nvSpPr>
            <p:spPr>
              <a:xfrm>
                <a:off x="-1" y="0"/>
                <a:ext cx="1378378" cy="212187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806" y="2354"/>
                    </a:moveTo>
                    <a:cubicBezTo>
                      <a:pt x="1806" y="2331"/>
                      <a:pt x="1806" y="2309"/>
                      <a:pt x="1806" y="2286"/>
                    </a:cubicBezTo>
                    <a:cubicBezTo>
                      <a:pt x="1806" y="2217"/>
                      <a:pt x="1696" y="2149"/>
                      <a:pt x="1696" y="2080"/>
                    </a:cubicBezTo>
                    <a:cubicBezTo>
                      <a:pt x="1696" y="1943"/>
                      <a:pt x="1769" y="1920"/>
                      <a:pt x="1769" y="1806"/>
                    </a:cubicBezTo>
                    <a:cubicBezTo>
                      <a:pt x="1769" y="1600"/>
                      <a:pt x="1474" y="1623"/>
                      <a:pt x="1474" y="1440"/>
                    </a:cubicBezTo>
                    <a:cubicBezTo>
                      <a:pt x="1474" y="1303"/>
                      <a:pt x="1806" y="1257"/>
                      <a:pt x="1880" y="1166"/>
                    </a:cubicBezTo>
                    <a:cubicBezTo>
                      <a:pt x="2027" y="1189"/>
                      <a:pt x="1954" y="1189"/>
                      <a:pt x="2101" y="1166"/>
                    </a:cubicBezTo>
                    <a:cubicBezTo>
                      <a:pt x="2101" y="1143"/>
                      <a:pt x="2101" y="1120"/>
                      <a:pt x="2101" y="1097"/>
                    </a:cubicBezTo>
                    <a:cubicBezTo>
                      <a:pt x="2101" y="1097"/>
                      <a:pt x="2138" y="1051"/>
                      <a:pt x="2175" y="1051"/>
                    </a:cubicBezTo>
                    <a:cubicBezTo>
                      <a:pt x="2175" y="960"/>
                      <a:pt x="2359" y="914"/>
                      <a:pt x="2433" y="891"/>
                    </a:cubicBezTo>
                    <a:cubicBezTo>
                      <a:pt x="2543" y="846"/>
                      <a:pt x="2543" y="709"/>
                      <a:pt x="2580" y="640"/>
                    </a:cubicBezTo>
                    <a:cubicBezTo>
                      <a:pt x="2654" y="480"/>
                      <a:pt x="2801" y="434"/>
                      <a:pt x="3023" y="411"/>
                    </a:cubicBezTo>
                    <a:cubicBezTo>
                      <a:pt x="3428" y="320"/>
                      <a:pt x="3686" y="274"/>
                      <a:pt x="4091" y="206"/>
                    </a:cubicBezTo>
                    <a:cubicBezTo>
                      <a:pt x="4313" y="160"/>
                      <a:pt x="4349" y="0"/>
                      <a:pt x="4571" y="0"/>
                    </a:cubicBezTo>
                    <a:cubicBezTo>
                      <a:pt x="4644" y="0"/>
                      <a:pt x="4718" y="114"/>
                      <a:pt x="4718" y="137"/>
                    </a:cubicBezTo>
                    <a:cubicBezTo>
                      <a:pt x="4718" y="206"/>
                      <a:pt x="4608" y="251"/>
                      <a:pt x="4534" y="251"/>
                    </a:cubicBezTo>
                    <a:cubicBezTo>
                      <a:pt x="4497" y="411"/>
                      <a:pt x="4386" y="571"/>
                      <a:pt x="4386" y="663"/>
                    </a:cubicBezTo>
                    <a:cubicBezTo>
                      <a:pt x="4386" y="777"/>
                      <a:pt x="4497" y="960"/>
                      <a:pt x="4644" y="960"/>
                    </a:cubicBezTo>
                    <a:cubicBezTo>
                      <a:pt x="4718" y="960"/>
                      <a:pt x="4829" y="846"/>
                      <a:pt x="4829" y="800"/>
                    </a:cubicBezTo>
                    <a:cubicBezTo>
                      <a:pt x="4829" y="686"/>
                      <a:pt x="4608" y="617"/>
                      <a:pt x="4608" y="480"/>
                    </a:cubicBezTo>
                    <a:cubicBezTo>
                      <a:pt x="4608" y="343"/>
                      <a:pt x="4866" y="366"/>
                      <a:pt x="5013" y="297"/>
                    </a:cubicBezTo>
                    <a:cubicBezTo>
                      <a:pt x="5418" y="297"/>
                      <a:pt x="5418" y="297"/>
                      <a:pt x="5418" y="297"/>
                    </a:cubicBezTo>
                    <a:cubicBezTo>
                      <a:pt x="5345" y="183"/>
                      <a:pt x="5124" y="229"/>
                      <a:pt x="5124" y="114"/>
                    </a:cubicBezTo>
                    <a:cubicBezTo>
                      <a:pt x="5382" y="114"/>
                      <a:pt x="5382" y="114"/>
                      <a:pt x="5382" y="114"/>
                    </a:cubicBezTo>
                    <a:cubicBezTo>
                      <a:pt x="5455" y="274"/>
                      <a:pt x="5824" y="320"/>
                      <a:pt x="6082" y="366"/>
                    </a:cubicBezTo>
                    <a:cubicBezTo>
                      <a:pt x="6082" y="457"/>
                      <a:pt x="6156" y="526"/>
                      <a:pt x="6266" y="549"/>
                    </a:cubicBezTo>
                    <a:cubicBezTo>
                      <a:pt x="6524" y="549"/>
                      <a:pt x="7003" y="549"/>
                      <a:pt x="7151" y="549"/>
                    </a:cubicBezTo>
                    <a:cubicBezTo>
                      <a:pt x="7151" y="640"/>
                      <a:pt x="7335" y="663"/>
                      <a:pt x="7483" y="663"/>
                    </a:cubicBezTo>
                    <a:cubicBezTo>
                      <a:pt x="7704" y="640"/>
                      <a:pt x="7888" y="640"/>
                      <a:pt x="7962" y="503"/>
                    </a:cubicBezTo>
                    <a:cubicBezTo>
                      <a:pt x="7999" y="480"/>
                      <a:pt x="8330" y="480"/>
                      <a:pt x="8367" y="457"/>
                    </a:cubicBezTo>
                    <a:cubicBezTo>
                      <a:pt x="8552" y="457"/>
                      <a:pt x="8846" y="480"/>
                      <a:pt x="8846" y="480"/>
                    </a:cubicBezTo>
                    <a:cubicBezTo>
                      <a:pt x="8773" y="526"/>
                      <a:pt x="8625" y="526"/>
                      <a:pt x="8588" y="503"/>
                    </a:cubicBezTo>
                    <a:cubicBezTo>
                      <a:pt x="8588" y="594"/>
                      <a:pt x="8588" y="594"/>
                      <a:pt x="8588" y="594"/>
                    </a:cubicBezTo>
                    <a:cubicBezTo>
                      <a:pt x="8699" y="731"/>
                      <a:pt x="9031" y="754"/>
                      <a:pt x="9289" y="823"/>
                    </a:cubicBezTo>
                    <a:cubicBezTo>
                      <a:pt x="9510" y="846"/>
                      <a:pt x="9436" y="1006"/>
                      <a:pt x="9510" y="1143"/>
                    </a:cubicBezTo>
                    <a:cubicBezTo>
                      <a:pt x="9952" y="1143"/>
                      <a:pt x="9952" y="1143"/>
                      <a:pt x="9952" y="1143"/>
                    </a:cubicBezTo>
                    <a:cubicBezTo>
                      <a:pt x="10284" y="1326"/>
                      <a:pt x="10431" y="1303"/>
                      <a:pt x="10616" y="1554"/>
                    </a:cubicBezTo>
                    <a:cubicBezTo>
                      <a:pt x="10653" y="1600"/>
                      <a:pt x="10800" y="1600"/>
                      <a:pt x="10874" y="1600"/>
                    </a:cubicBezTo>
                    <a:cubicBezTo>
                      <a:pt x="10984" y="1897"/>
                      <a:pt x="11648" y="1851"/>
                      <a:pt x="12090" y="1920"/>
                    </a:cubicBezTo>
                    <a:cubicBezTo>
                      <a:pt x="12532" y="1920"/>
                      <a:pt x="12532" y="1920"/>
                      <a:pt x="12532" y="1920"/>
                    </a:cubicBezTo>
                    <a:cubicBezTo>
                      <a:pt x="12643" y="1943"/>
                      <a:pt x="12901" y="2034"/>
                      <a:pt x="13048" y="2034"/>
                    </a:cubicBezTo>
                    <a:cubicBezTo>
                      <a:pt x="13048" y="2034"/>
                      <a:pt x="13048" y="2034"/>
                      <a:pt x="13048" y="2034"/>
                    </a:cubicBezTo>
                    <a:cubicBezTo>
                      <a:pt x="13085" y="2034"/>
                      <a:pt x="13122" y="2034"/>
                      <a:pt x="13159" y="2034"/>
                    </a:cubicBezTo>
                    <a:cubicBezTo>
                      <a:pt x="13417" y="2034"/>
                      <a:pt x="13749" y="2377"/>
                      <a:pt x="14044" y="2423"/>
                    </a:cubicBezTo>
                    <a:cubicBezTo>
                      <a:pt x="14044" y="2537"/>
                      <a:pt x="14228" y="2857"/>
                      <a:pt x="14339" y="2971"/>
                    </a:cubicBezTo>
                    <a:cubicBezTo>
                      <a:pt x="14412" y="3063"/>
                      <a:pt x="14633" y="3063"/>
                      <a:pt x="14633" y="3177"/>
                    </a:cubicBezTo>
                    <a:cubicBezTo>
                      <a:pt x="14375" y="3383"/>
                      <a:pt x="13896" y="3474"/>
                      <a:pt x="13896" y="3771"/>
                    </a:cubicBezTo>
                    <a:cubicBezTo>
                      <a:pt x="13896" y="3886"/>
                      <a:pt x="14044" y="3863"/>
                      <a:pt x="14117" y="3886"/>
                    </a:cubicBezTo>
                    <a:cubicBezTo>
                      <a:pt x="14265" y="3931"/>
                      <a:pt x="14375" y="4023"/>
                      <a:pt x="14375" y="4114"/>
                    </a:cubicBezTo>
                    <a:cubicBezTo>
                      <a:pt x="14781" y="4114"/>
                      <a:pt x="14781" y="4114"/>
                      <a:pt x="14781" y="4114"/>
                    </a:cubicBezTo>
                    <a:cubicBezTo>
                      <a:pt x="14781" y="4160"/>
                      <a:pt x="14818" y="4229"/>
                      <a:pt x="14855" y="4229"/>
                    </a:cubicBezTo>
                    <a:cubicBezTo>
                      <a:pt x="14928" y="4229"/>
                      <a:pt x="15002" y="4160"/>
                      <a:pt x="15039" y="4114"/>
                    </a:cubicBezTo>
                    <a:cubicBezTo>
                      <a:pt x="15223" y="3954"/>
                      <a:pt x="15408" y="3749"/>
                      <a:pt x="15666" y="3749"/>
                    </a:cubicBezTo>
                    <a:cubicBezTo>
                      <a:pt x="15960" y="3749"/>
                      <a:pt x="16550" y="3931"/>
                      <a:pt x="16734" y="4000"/>
                    </a:cubicBezTo>
                    <a:cubicBezTo>
                      <a:pt x="16882" y="4069"/>
                      <a:pt x="17029" y="4046"/>
                      <a:pt x="17066" y="4114"/>
                    </a:cubicBezTo>
                    <a:cubicBezTo>
                      <a:pt x="17103" y="4206"/>
                      <a:pt x="17103" y="4274"/>
                      <a:pt x="17103" y="4366"/>
                    </a:cubicBezTo>
                    <a:cubicBezTo>
                      <a:pt x="17214" y="4366"/>
                      <a:pt x="17214" y="4366"/>
                      <a:pt x="17214" y="4366"/>
                    </a:cubicBezTo>
                    <a:cubicBezTo>
                      <a:pt x="17361" y="4343"/>
                      <a:pt x="17398" y="4251"/>
                      <a:pt x="17545" y="4251"/>
                    </a:cubicBezTo>
                    <a:cubicBezTo>
                      <a:pt x="17914" y="4251"/>
                      <a:pt x="17951" y="4434"/>
                      <a:pt x="18283" y="4434"/>
                    </a:cubicBezTo>
                    <a:cubicBezTo>
                      <a:pt x="18909" y="4366"/>
                      <a:pt x="18909" y="4366"/>
                      <a:pt x="18909" y="4366"/>
                    </a:cubicBezTo>
                    <a:cubicBezTo>
                      <a:pt x="19204" y="4411"/>
                      <a:pt x="19499" y="4480"/>
                      <a:pt x="19683" y="4526"/>
                    </a:cubicBezTo>
                    <a:cubicBezTo>
                      <a:pt x="19831" y="4686"/>
                      <a:pt x="20310" y="4960"/>
                      <a:pt x="20568" y="5029"/>
                    </a:cubicBezTo>
                    <a:cubicBezTo>
                      <a:pt x="20826" y="5051"/>
                      <a:pt x="20973" y="5006"/>
                      <a:pt x="21195" y="5029"/>
                    </a:cubicBezTo>
                    <a:cubicBezTo>
                      <a:pt x="21526" y="5097"/>
                      <a:pt x="21600" y="5303"/>
                      <a:pt x="21600" y="5531"/>
                    </a:cubicBezTo>
                    <a:cubicBezTo>
                      <a:pt x="21600" y="6263"/>
                      <a:pt x="20937" y="6469"/>
                      <a:pt x="20494" y="6880"/>
                    </a:cubicBezTo>
                    <a:cubicBezTo>
                      <a:pt x="20384" y="6971"/>
                      <a:pt x="20310" y="6994"/>
                      <a:pt x="20236" y="7086"/>
                    </a:cubicBezTo>
                    <a:cubicBezTo>
                      <a:pt x="20052" y="7246"/>
                      <a:pt x="19904" y="7246"/>
                      <a:pt x="19720" y="7360"/>
                    </a:cubicBezTo>
                    <a:cubicBezTo>
                      <a:pt x="19499" y="7497"/>
                      <a:pt x="19720" y="7840"/>
                      <a:pt x="19720" y="8069"/>
                    </a:cubicBezTo>
                    <a:cubicBezTo>
                      <a:pt x="19720" y="8251"/>
                      <a:pt x="19610" y="8434"/>
                      <a:pt x="19610" y="8549"/>
                    </a:cubicBezTo>
                    <a:cubicBezTo>
                      <a:pt x="19610" y="8617"/>
                      <a:pt x="19536" y="8640"/>
                      <a:pt x="19536" y="8686"/>
                    </a:cubicBezTo>
                    <a:cubicBezTo>
                      <a:pt x="19462" y="8731"/>
                      <a:pt x="19315" y="8823"/>
                      <a:pt x="19315" y="8914"/>
                    </a:cubicBezTo>
                    <a:cubicBezTo>
                      <a:pt x="19315" y="9006"/>
                      <a:pt x="19278" y="9211"/>
                      <a:pt x="19241" y="9257"/>
                    </a:cubicBezTo>
                    <a:cubicBezTo>
                      <a:pt x="18983" y="9486"/>
                      <a:pt x="18909" y="9577"/>
                      <a:pt x="18651" y="9783"/>
                    </a:cubicBezTo>
                    <a:cubicBezTo>
                      <a:pt x="18614" y="9851"/>
                      <a:pt x="18614" y="9966"/>
                      <a:pt x="18577" y="10011"/>
                    </a:cubicBezTo>
                    <a:cubicBezTo>
                      <a:pt x="18504" y="10126"/>
                      <a:pt x="18135" y="10263"/>
                      <a:pt x="17877" y="10263"/>
                    </a:cubicBezTo>
                    <a:cubicBezTo>
                      <a:pt x="17545" y="10263"/>
                      <a:pt x="17324" y="10263"/>
                      <a:pt x="17066" y="10331"/>
                    </a:cubicBezTo>
                    <a:cubicBezTo>
                      <a:pt x="16992" y="10354"/>
                      <a:pt x="16956" y="10400"/>
                      <a:pt x="16919" y="10446"/>
                    </a:cubicBezTo>
                    <a:cubicBezTo>
                      <a:pt x="16513" y="10674"/>
                      <a:pt x="16108" y="10537"/>
                      <a:pt x="15813" y="10834"/>
                    </a:cubicBezTo>
                    <a:cubicBezTo>
                      <a:pt x="15702" y="10949"/>
                      <a:pt x="15481" y="10949"/>
                      <a:pt x="15334" y="11040"/>
                    </a:cubicBezTo>
                    <a:cubicBezTo>
                      <a:pt x="15149" y="11177"/>
                      <a:pt x="15186" y="11314"/>
                      <a:pt x="15186" y="11497"/>
                    </a:cubicBezTo>
                    <a:cubicBezTo>
                      <a:pt x="15186" y="11977"/>
                      <a:pt x="15186" y="11977"/>
                      <a:pt x="15186" y="11977"/>
                    </a:cubicBezTo>
                    <a:cubicBezTo>
                      <a:pt x="14855" y="12069"/>
                      <a:pt x="14670" y="12251"/>
                      <a:pt x="14523" y="12457"/>
                    </a:cubicBezTo>
                    <a:cubicBezTo>
                      <a:pt x="14523" y="12457"/>
                      <a:pt x="14523" y="12457"/>
                      <a:pt x="14523" y="12457"/>
                    </a:cubicBezTo>
                    <a:cubicBezTo>
                      <a:pt x="14412" y="12571"/>
                      <a:pt x="14412" y="12640"/>
                      <a:pt x="14302" y="12777"/>
                    </a:cubicBezTo>
                    <a:cubicBezTo>
                      <a:pt x="14007" y="13051"/>
                      <a:pt x="13675" y="13074"/>
                      <a:pt x="13417" y="13349"/>
                    </a:cubicBezTo>
                    <a:cubicBezTo>
                      <a:pt x="13085" y="13646"/>
                      <a:pt x="12938" y="14149"/>
                      <a:pt x="12201" y="14149"/>
                    </a:cubicBezTo>
                    <a:cubicBezTo>
                      <a:pt x="11943" y="14149"/>
                      <a:pt x="11574" y="14034"/>
                      <a:pt x="11463" y="14034"/>
                    </a:cubicBezTo>
                    <a:cubicBezTo>
                      <a:pt x="11242" y="14034"/>
                      <a:pt x="11021" y="13920"/>
                      <a:pt x="10800" y="13920"/>
                    </a:cubicBezTo>
                    <a:cubicBezTo>
                      <a:pt x="10726" y="13920"/>
                      <a:pt x="10653" y="13943"/>
                      <a:pt x="10653" y="13966"/>
                    </a:cubicBezTo>
                    <a:cubicBezTo>
                      <a:pt x="10653" y="14057"/>
                      <a:pt x="10911" y="14103"/>
                      <a:pt x="10947" y="14149"/>
                    </a:cubicBezTo>
                    <a:cubicBezTo>
                      <a:pt x="11058" y="14217"/>
                      <a:pt x="11058" y="14331"/>
                      <a:pt x="11132" y="14446"/>
                    </a:cubicBezTo>
                    <a:cubicBezTo>
                      <a:pt x="11205" y="14560"/>
                      <a:pt x="11463" y="14560"/>
                      <a:pt x="11463" y="14674"/>
                    </a:cubicBezTo>
                    <a:cubicBezTo>
                      <a:pt x="11463" y="14789"/>
                      <a:pt x="11463" y="14857"/>
                      <a:pt x="11353" y="14949"/>
                    </a:cubicBezTo>
                    <a:cubicBezTo>
                      <a:pt x="11205" y="15086"/>
                      <a:pt x="11095" y="15154"/>
                      <a:pt x="10947" y="15246"/>
                    </a:cubicBezTo>
                    <a:cubicBezTo>
                      <a:pt x="10653" y="15429"/>
                      <a:pt x="10321" y="15383"/>
                      <a:pt x="9952" y="15451"/>
                    </a:cubicBezTo>
                    <a:cubicBezTo>
                      <a:pt x="9694" y="15497"/>
                      <a:pt x="9141" y="15383"/>
                      <a:pt x="8994" y="15474"/>
                    </a:cubicBezTo>
                    <a:cubicBezTo>
                      <a:pt x="8773" y="15611"/>
                      <a:pt x="8957" y="15909"/>
                      <a:pt x="8846" y="16069"/>
                    </a:cubicBezTo>
                    <a:cubicBezTo>
                      <a:pt x="8846" y="16046"/>
                      <a:pt x="8846" y="16046"/>
                      <a:pt x="8846" y="16046"/>
                    </a:cubicBezTo>
                    <a:cubicBezTo>
                      <a:pt x="8846" y="16069"/>
                      <a:pt x="8846" y="16137"/>
                      <a:pt x="8846" y="16160"/>
                    </a:cubicBezTo>
                    <a:cubicBezTo>
                      <a:pt x="8846" y="16206"/>
                      <a:pt x="8588" y="16274"/>
                      <a:pt x="8441" y="16274"/>
                    </a:cubicBezTo>
                    <a:cubicBezTo>
                      <a:pt x="8109" y="16274"/>
                      <a:pt x="8035" y="16137"/>
                      <a:pt x="7741" y="16137"/>
                    </a:cubicBezTo>
                    <a:cubicBezTo>
                      <a:pt x="7630" y="16137"/>
                      <a:pt x="7556" y="16206"/>
                      <a:pt x="7556" y="16251"/>
                    </a:cubicBezTo>
                    <a:cubicBezTo>
                      <a:pt x="7556" y="16389"/>
                      <a:pt x="7777" y="16663"/>
                      <a:pt x="7888" y="16663"/>
                    </a:cubicBezTo>
                    <a:cubicBezTo>
                      <a:pt x="7999" y="16663"/>
                      <a:pt x="8072" y="16594"/>
                      <a:pt x="8146" y="16594"/>
                    </a:cubicBezTo>
                    <a:cubicBezTo>
                      <a:pt x="8183" y="16640"/>
                      <a:pt x="8294" y="16640"/>
                      <a:pt x="8294" y="16686"/>
                    </a:cubicBezTo>
                    <a:cubicBezTo>
                      <a:pt x="8294" y="16754"/>
                      <a:pt x="8146" y="16823"/>
                      <a:pt x="8109" y="16823"/>
                    </a:cubicBezTo>
                    <a:cubicBezTo>
                      <a:pt x="7925" y="16823"/>
                      <a:pt x="7851" y="16731"/>
                      <a:pt x="7704" y="16731"/>
                    </a:cubicBezTo>
                    <a:cubicBezTo>
                      <a:pt x="7704" y="16846"/>
                      <a:pt x="7777" y="16869"/>
                      <a:pt x="7888" y="16891"/>
                    </a:cubicBezTo>
                    <a:cubicBezTo>
                      <a:pt x="7593" y="17074"/>
                      <a:pt x="7593" y="17257"/>
                      <a:pt x="7483" y="17509"/>
                    </a:cubicBezTo>
                    <a:cubicBezTo>
                      <a:pt x="7446" y="17600"/>
                      <a:pt x="7151" y="17623"/>
                      <a:pt x="7040" y="17623"/>
                    </a:cubicBezTo>
                    <a:cubicBezTo>
                      <a:pt x="6782" y="17669"/>
                      <a:pt x="6561" y="17806"/>
                      <a:pt x="6561" y="17989"/>
                    </a:cubicBezTo>
                    <a:cubicBezTo>
                      <a:pt x="6561" y="18377"/>
                      <a:pt x="7298" y="18240"/>
                      <a:pt x="7298" y="18537"/>
                    </a:cubicBezTo>
                    <a:cubicBezTo>
                      <a:pt x="7298" y="18834"/>
                      <a:pt x="6893" y="18857"/>
                      <a:pt x="6672" y="18994"/>
                    </a:cubicBezTo>
                    <a:cubicBezTo>
                      <a:pt x="6524" y="19086"/>
                      <a:pt x="6561" y="19223"/>
                      <a:pt x="6487" y="19337"/>
                    </a:cubicBezTo>
                    <a:cubicBezTo>
                      <a:pt x="6377" y="19474"/>
                      <a:pt x="6119" y="19429"/>
                      <a:pt x="5971" y="19520"/>
                    </a:cubicBezTo>
                    <a:cubicBezTo>
                      <a:pt x="5750" y="19634"/>
                      <a:pt x="5676" y="19771"/>
                      <a:pt x="5676" y="19977"/>
                    </a:cubicBezTo>
                    <a:cubicBezTo>
                      <a:pt x="5676" y="20069"/>
                      <a:pt x="5824" y="20183"/>
                      <a:pt x="5934" y="20206"/>
                    </a:cubicBezTo>
                    <a:cubicBezTo>
                      <a:pt x="6229" y="20297"/>
                      <a:pt x="6192" y="20754"/>
                      <a:pt x="6414" y="20891"/>
                    </a:cubicBezTo>
                    <a:cubicBezTo>
                      <a:pt x="6782" y="21120"/>
                      <a:pt x="7225" y="21211"/>
                      <a:pt x="7630" y="21349"/>
                    </a:cubicBezTo>
                    <a:cubicBezTo>
                      <a:pt x="7593" y="21394"/>
                      <a:pt x="7483" y="21371"/>
                      <a:pt x="7372" y="21371"/>
                    </a:cubicBezTo>
                    <a:cubicBezTo>
                      <a:pt x="7151" y="21371"/>
                      <a:pt x="6745" y="21554"/>
                      <a:pt x="6598" y="21554"/>
                    </a:cubicBezTo>
                    <a:cubicBezTo>
                      <a:pt x="6487" y="21554"/>
                      <a:pt x="6487" y="21554"/>
                      <a:pt x="6414" y="21554"/>
                    </a:cubicBezTo>
                    <a:cubicBezTo>
                      <a:pt x="6377" y="21554"/>
                      <a:pt x="6303" y="21600"/>
                      <a:pt x="6229" y="21600"/>
                    </a:cubicBezTo>
                    <a:cubicBezTo>
                      <a:pt x="6082" y="21600"/>
                      <a:pt x="5971" y="21600"/>
                      <a:pt x="5787" y="21600"/>
                    </a:cubicBezTo>
                    <a:cubicBezTo>
                      <a:pt x="5418" y="21600"/>
                      <a:pt x="5566" y="21326"/>
                      <a:pt x="5271" y="21280"/>
                    </a:cubicBezTo>
                    <a:cubicBezTo>
                      <a:pt x="5050" y="21234"/>
                      <a:pt x="4681" y="21234"/>
                      <a:pt x="4681" y="21051"/>
                    </a:cubicBezTo>
                    <a:cubicBezTo>
                      <a:pt x="4571" y="21051"/>
                      <a:pt x="4497" y="21051"/>
                      <a:pt x="4386" y="21051"/>
                    </a:cubicBezTo>
                    <a:cubicBezTo>
                      <a:pt x="4239" y="21051"/>
                      <a:pt x="4202" y="20960"/>
                      <a:pt x="4202" y="20914"/>
                    </a:cubicBezTo>
                    <a:cubicBezTo>
                      <a:pt x="3760" y="20914"/>
                      <a:pt x="3612" y="20777"/>
                      <a:pt x="3391" y="20640"/>
                    </a:cubicBezTo>
                    <a:cubicBezTo>
                      <a:pt x="3354" y="20617"/>
                      <a:pt x="3244" y="20571"/>
                      <a:pt x="3244" y="20549"/>
                    </a:cubicBezTo>
                    <a:cubicBezTo>
                      <a:pt x="3244" y="20457"/>
                      <a:pt x="3539" y="20457"/>
                      <a:pt x="3575" y="20366"/>
                    </a:cubicBezTo>
                    <a:cubicBezTo>
                      <a:pt x="3502" y="20366"/>
                      <a:pt x="3465" y="20343"/>
                      <a:pt x="3428" y="20320"/>
                    </a:cubicBezTo>
                    <a:cubicBezTo>
                      <a:pt x="3465" y="20274"/>
                      <a:pt x="3539" y="20206"/>
                      <a:pt x="3539" y="20160"/>
                    </a:cubicBezTo>
                    <a:cubicBezTo>
                      <a:pt x="3539" y="19909"/>
                      <a:pt x="3096" y="19954"/>
                      <a:pt x="3096" y="19726"/>
                    </a:cubicBezTo>
                    <a:cubicBezTo>
                      <a:pt x="3096" y="19657"/>
                      <a:pt x="3096" y="19634"/>
                      <a:pt x="3096" y="19589"/>
                    </a:cubicBezTo>
                    <a:cubicBezTo>
                      <a:pt x="3096" y="19383"/>
                      <a:pt x="2875" y="19017"/>
                      <a:pt x="2875" y="18857"/>
                    </a:cubicBezTo>
                    <a:cubicBezTo>
                      <a:pt x="2875" y="18674"/>
                      <a:pt x="3244" y="18606"/>
                      <a:pt x="3244" y="18446"/>
                    </a:cubicBezTo>
                    <a:cubicBezTo>
                      <a:pt x="3244" y="18354"/>
                      <a:pt x="3059" y="18194"/>
                      <a:pt x="3023" y="18080"/>
                    </a:cubicBezTo>
                    <a:cubicBezTo>
                      <a:pt x="3023" y="17989"/>
                      <a:pt x="3023" y="17989"/>
                      <a:pt x="3023" y="17989"/>
                    </a:cubicBezTo>
                    <a:cubicBezTo>
                      <a:pt x="3023" y="17989"/>
                      <a:pt x="3023" y="17989"/>
                      <a:pt x="3023" y="17989"/>
                    </a:cubicBezTo>
                    <a:cubicBezTo>
                      <a:pt x="3023" y="17920"/>
                      <a:pt x="3096" y="17874"/>
                      <a:pt x="3170" y="17874"/>
                    </a:cubicBezTo>
                    <a:cubicBezTo>
                      <a:pt x="3465" y="17874"/>
                      <a:pt x="3354" y="18057"/>
                      <a:pt x="3612" y="18057"/>
                    </a:cubicBezTo>
                    <a:cubicBezTo>
                      <a:pt x="4128" y="16571"/>
                      <a:pt x="4128" y="16571"/>
                      <a:pt x="4128" y="16571"/>
                    </a:cubicBezTo>
                    <a:cubicBezTo>
                      <a:pt x="4128" y="16411"/>
                      <a:pt x="4128" y="16411"/>
                      <a:pt x="4128" y="16411"/>
                    </a:cubicBezTo>
                    <a:cubicBezTo>
                      <a:pt x="4091" y="16411"/>
                      <a:pt x="4018" y="16389"/>
                      <a:pt x="3981" y="16411"/>
                    </a:cubicBezTo>
                    <a:cubicBezTo>
                      <a:pt x="3870" y="16434"/>
                      <a:pt x="3870" y="16526"/>
                      <a:pt x="3760" y="16526"/>
                    </a:cubicBezTo>
                    <a:cubicBezTo>
                      <a:pt x="3612" y="16526"/>
                      <a:pt x="3502" y="16297"/>
                      <a:pt x="3502" y="16183"/>
                    </a:cubicBezTo>
                    <a:cubicBezTo>
                      <a:pt x="3502" y="15977"/>
                      <a:pt x="3612" y="15909"/>
                      <a:pt x="3686" y="15726"/>
                    </a:cubicBezTo>
                    <a:cubicBezTo>
                      <a:pt x="3797" y="15726"/>
                      <a:pt x="3833" y="15703"/>
                      <a:pt x="3833" y="15657"/>
                    </a:cubicBezTo>
                    <a:cubicBezTo>
                      <a:pt x="3833" y="15611"/>
                      <a:pt x="3760" y="15543"/>
                      <a:pt x="3760" y="15543"/>
                    </a:cubicBezTo>
                    <a:cubicBezTo>
                      <a:pt x="3686" y="15543"/>
                      <a:pt x="3649" y="15269"/>
                      <a:pt x="3649" y="15200"/>
                    </a:cubicBezTo>
                    <a:cubicBezTo>
                      <a:pt x="3649" y="14971"/>
                      <a:pt x="3907" y="14743"/>
                      <a:pt x="4018" y="14606"/>
                    </a:cubicBezTo>
                    <a:cubicBezTo>
                      <a:pt x="4091" y="14514"/>
                      <a:pt x="4128" y="14377"/>
                      <a:pt x="4202" y="14309"/>
                    </a:cubicBezTo>
                    <a:cubicBezTo>
                      <a:pt x="4276" y="14263"/>
                      <a:pt x="4349" y="14286"/>
                      <a:pt x="4349" y="14240"/>
                    </a:cubicBezTo>
                    <a:cubicBezTo>
                      <a:pt x="4460" y="14011"/>
                      <a:pt x="4460" y="13829"/>
                      <a:pt x="4571" y="13600"/>
                    </a:cubicBezTo>
                    <a:cubicBezTo>
                      <a:pt x="4571" y="12846"/>
                      <a:pt x="4571" y="12846"/>
                      <a:pt x="4571" y="12846"/>
                    </a:cubicBezTo>
                    <a:cubicBezTo>
                      <a:pt x="4460" y="12663"/>
                      <a:pt x="4644" y="12526"/>
                      <a:pt x="4644" y="12366"/>
                    </a:cubicBezTo>
                    <a:cubicBezTo>
                      <a:pt x="4644" y="11977"/>
                      <a:pt x="5013" y="11726"/>
                      <a:pt x="5013" y="11383"/>
                    </a:cubicBezTo>
                    <a:cubicBezTo>
                      <a:pt x="5013" y="11360"/>
                      <a:pt x="5013" y="11314"/>
                      <a:pt x="5013" y="11291"/>
                    </a:cubicBezTo>
                    <a:cubicBezTo>
                      <a:pt x="5013" y="11223"/>
                      <a:pt x="5087" y="11040"/>
                      <a:pt x="5124" y="10926"/>
                    </a:cubicBezTo>
                    <a:cubicBezTo>
                      <a:pt x="5124" y="10629"/>
                      <a:pt x="5124" y="10629"/>
                      <a:pt x="5124" y="10491"/>
                    </a:cubicBezTo>
                    <a:cubicBezTo>
                      <a:pt x="5124" y="10354"/>
                      <a:pt x="5271" y="10080"/>
                      <a:pt x="5271" y="9920"/>
                    </a:cubicBezTo>
                    <a:cubicBezTo>
                      <a:pt x="5271" y="9806"/>
                      <a:pt x="5197" y="9211"/>
                      <a:pt x="5160" y="9120"/>
                    </a:cubicBezTo>
                    <a:cubicBezTo>
                      <a:pt x="5013" y="8869"/>
                      <a:pt x="4718" y="8709"/>
                      <a:pt x="4460" y="8617"/>
                    </a:cubicBezTo>
                    <a:cubicBezTo>
                      <a:pt x="4202" y="8549"/>
                      <a:pt x="4018" y="8571"/>
                      <a:pt x="3833" y="8457"/>
                    </a:cubicBezTo>
                    <a:cubicBezTo>
                      <a:pt x="3649" y="8343"/>
                      <a:pt x="3539" y="8297"/>
                      <a:pt x="3317" y="8274"/>
                    </a:cubicBezTo>
                    <a:cubicBezTo>
                      <a:pt x="2875" y="8183"/>
                      <a:pt x="2654" y="8023"/>
                      <a:pt x="2359" y="7840"/>
                    </a:cubicBezTo>
                    <a:cubicBezTo>
                      <a:pt x="2212" y="7771"/>
                      <a:pt x="2285" y="7657"/>
                      <a:pt x="2285" y="7543"/>
                    </a:cubicBezTo>
                    <a:cubicBezTo>
                      <a:pt x="2285" y="7383"/>
                      <a:pt x="2027" y="7291"/>
                      <a:pt x="1954" y="7154"/>
                    </a:cubicBezTo>
                    <a:cubicBezTo>
                      <a:pt x="1843" y="6903"/>
                      <a:pt x="1511" y="6720"/>
                      <a:pt x="1401" y="6514"/>
                    </a:cubicBezTo>
                    <a:cubicBezTo>
                      <a:pt x="1290" y="6286"/>
                      <a:pt x="1180" y="6149"/>
                      <a:pt x="1032" y="5966"/>
                    </a:cubicBezTo>
                    <a:cubicBezTo>
                      <a:pt x="995" y="5897"/>
                      <a:pt x="885" y="5920"/>
                      <a:pt x="848" y="5874"/>
                    </a:cubicBezTo>
                    <a:cubicBezTo>
                      <a:pt x="737" y="5806"/>
                      <a:pt x="700" y="5669"/>
                      <a:pt x="627" y="5600"/>
                    </a:cubicBezTo>
                    <a:cubicBezTo>
                      <a:pt x="590" y="5531"/>
                      <a:pt x="442" y="5554"/>
                      <a:pt x="405" y="5531"/>
                    </a:cubicBezTo>
                    <a:cubicBezTo>
                      <a:pt x="221" y="5417"/>
                      <a:pt x="0" y="5211"/>
                      <a:pt x="0" y="5029"/>
                    </a:cubicBezTo>
                    <a:cubicBezTo>
                      <a:pt x="0" y="4914"/>
                      <a:pt x="111" y="4777"/>
                      <a:pt x="184" y="4731"/>
                    </a:cubicBezTo>
                    <a:cubicBezTo>
                      <a:pt x="295" y="4571"/>
                      <a:pt x="590" y="4526"/>
                      <a:pt x="663" y="4366"/>
                    </a:cubicBezTo>
                    <a:cubicBezTo>
                      <a:pt x="516" y="4320"/>
                      <a:pt x="553" y="4366"/>
                      <a:pt x="442" y="4366"/>
                    </a:cubicBezTo>
                    <a:cubicBezTo>
                      <a:pt x="184" y="4366"/>
                      <a:pt x="184" y="4160"/>
                      <a:pt x="184" y="4023"/>
                    </a:cubicBezTo>
                    <a:cubicBezTo>
                      <a:pt x="184" y="3794"/>
                      <a:pt x="590" y="3840"/>
                      <a:pt x="516" y="3383"/>
                    </a:cubicBezTo>
                    <a:cubicBezTo>
                      <a:pt x="958" y="3383"/>
                      <a:pt x="1069" y="3109"/>
                      <a:pt x="1180" y="2949"/>
                    </a:cubicBezTo>
                    <a:cubicBezTo>
                      <a:pt x="1364" y="2720"/>
                      <a:pt x="1806" y="2811"/>
                      <a:pt x="1880" y="2537"/>
                    </a:cubicBezTo>
                    <a:cubicBezTo>
                      <a:pt x="1806" y="2514"/>
                      <a:pt x="1732" y="2446"/>
                      <a:pt x="1732" y="2423"/>
                    </a:cubicBezTo>
                    <a:cubicBezTo>
                      <a:pt x="1806" y="2354"/>
                      <a:pt x="1806" y="2354"/>
                      <a:pt x="1806" y="2354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/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</p:grpSp>
        <p:grpSp>
          <p:nvGrpSpPr>
            <p:cNvPr id="72" name="íṧḻïḓê"/>
            <p:cNvGrpSpPr/>
            <p:nvPr/>
          </p:nvGrpSpPr>
          <p:grpSpPr>
            <a:xfrm>
              <a:off x="-1" y="0"/>
              <a:ext cx="4581452" cy="3042380"/>
              <a:chOff x="0" y="0"/>
              <a:chExt cx="4581450" cy="3042379"/>
            </a:xfrm>
            <a:grpFill/>
          </p:grpSpPr>
          <p:sp>
            <p:nvSpPr>
              <p:cNvPr id="238" name="íşlïḓê"/>
              <p:cNvSpPr/>
              <p:nvPr/>
            </p:nvSpPr>
            <p:spPr>
              <a:xfrm>
                <a:off x="786033" y="741192"/>
                <a:ext cx="2520922" cy="124157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8716" y="19647"/>
                    </a:moveTo>
                    <a:cubicBezTo>
                      <a:pt x="18716" y="19608"/>
                      <a:pt x="18716" y="19608"/>
                      <a:pt x="18716" y="19608"/>
                    </a:cubicBezTo>
                    <a:cubicBezTo>
                      <a:pt x="18716" y="19608"/>
                      <a:pt x="18776" y="19608"/>
                      <a:pt x="18797" y="19608"/>
                    </a:cubicBezTo>
                    <a:cubicBezTo>
                      <a:pt x="18857" y="19608"/>
                      <a:pt x="19079" y="19686"/>
                      <a:pt x="19160" y="19569"/>
                    </a:cubicBezTo>
                    <a:cubicBezTo>
                      <a:pt x="19240" y="19452"/>
                      <a:pt x="19240" y="19256"/>
                      <a:pt x="19361" y="19217"/>
                    </a:cubicBezTo>
                    <a:cubicBezTo>
                      <a:pt x="19361" y="19452"/>
                      <a:pt x="19361" y="19491"/>
                      <a:pt x="19503" y="19491"/>
                    </a:cubicBezTo>
                    <a:cubicBezTo>
                      <a:pt x="19301" y="19530"/>
                      <a:pt x="18978" y="19803"/>
                      <a:pt x="18978" y="20155"/>
                    </a:cubicBezTo>
                    <a:cubicBezTo>
                      <a:pt x="18978" y="20311"/>
                      <a:pt x="19099" y="20584"/>
                      <a:pt x="19160" y="20584"/>
                    </a:cubicBezTo>
                    <a:cubicBezTo>
                      <a:pt x="19220" y="20584"/>
                      <a:pt x="19382" y="20155"/>
                      <a:pt x="19563" y="20038"/>
                    </a:cubicBezTo>
                    <a:cubicBezTo>
                      <a:pt x="19603" y="20038"/>
                      <a:pt x="20229" y="19569"/>
                      <a:pt x="20229" y="19413"/>
                    </a:cubicBezTo>
                    <a:cubicBezTo>
                      <a:pt x="20229" y="19256"/>
                      <a:pt x="19987" y="19217"/>
                      <a:pt x="19926" y="19217"/>
                    </a:cubicBezTo>
                    <a:cubicBezTo>
                      <a:pt x="19684" y="19217"/>
                      <a:pt x="19261" y="18749"/>
                      <a:pt x="19261" y="18319"/>
                    </a:cubicBezTo>
                    <a:cubicBezTo>
                      <a:pt x="19261" y="18202"/>
                      <a:pt x="19341" y="18085"/>
                      <a:pt x="19361" y="17889"/>
                    </a:cubicBezTo>
                    <a:cubicBezTo>
                      <a:pt x="19321" y="17889"/>
                      <a:pt x="19220" y="17850"/>
                      <a:pt x="19139" y="17850"/>
                    </a:cubicBezTo>
                    <a:cubicBezTo>
                      <a:pt x="19180" y="17694"/>
                      <a:pt x="19503" y="17616"/>
                      <a:pt x="19503" y="17264"/>
                    </a:cubicBezTo>
                    <a:cubicBezTo>
                      <a:pt x="19503" y="16952"/>
                      <a:pt x="19240" y="17030"/>
                      <a:pt x="19039" y="17030"/>
                    </a:cubicBezTo>
                    <a:cubicBezTo>
                      <a:pt x="18655" y="17030"/>
                      <a:pt x="18474" y="17538"/>
                      <a:pt x="18212" y="17616"/>
                    </a:cubicBezTo>
                    <a:cubicBezTo>
                      <a:pt x="18333" y="17147"/>
                      <a:pt x="18514" y="17303"/>
                      <a:pt x="18716" y="16913"/>
                    </a:cubicBezTo>
                    <a:cubicBezTo>
                      <a:pt x="18837" y="16678"/>
                      <a:pt x="18736" y="16522"/>
                      <a:pt x="18938" y="16405"/>
                    </a:cubicBezTo>
                    <a:cubicBezTo>
                      <a:pt x="19261" y="16210"/>
                      <a:pt x="19462" y="16327"/>
                      <a:pt x="19805" y="16327"/>
                    </a:cubicBezTo>
                    <a:cubicBezTo>
                      <a:pt x="20249" y="16327"/>
                      <a:pt x="20491" y="16600"/>
                      <a:pt x="20753" y="15936"/>
                    </a:cubicBezTo>
                    <a:cubicBezTo>
                      <a:pt x="20874" y="15624"/>
                      <a:pt x="21600" y="15546"/>
                      <a:pt x="21600" y="14999"/>
                    </a:cubicBezTo>
                    <a:cubicBezTo>
                      <a:pt x="21600" y="14608"/>
                      <a:pt x="21519" y="14452"/>
                      <a:pt x="21439" y="14179"/>
                    </a:cubicBezTo>
                    <a:cubicBezTo>
                      <a:pt x="21378" y="14179"/>
                      <a:pt x="21479" y="14022"/>
                      <a:pt x="21378" y="13905"/>
                    </a:cubicBezTo>
                    <a:cubicBezTo>
                      <a:pt x="21378" y="13710"/>
                      <a:pt x="21378" y="13710"/>
                      <a:pt x="21378" y="13710"/>
                    </a:cubicBezTo>
                    <a:cubicBezTo>
                      <a:pt x="21176" y="13944"/>
                      <a:pt x="20753" y="14218"/>
                      <a:pt x="20531" y="14218"/>
                    </a:cubicBezTo>
                    <a:cubicBezTo>
                      <a:pt x="20511" y="14218"/>
                      <a:pt x="20450" y="14179"/>
                      <a:pt x="20450" y="14140"/>
                    </a:cubicBezTo>
                    <a:cubicBezTo>
                      <a:pt x="20612" y="13983"/>
                      <a:pt x="21116" y="13827"/>
                      <a:pt x="21176" y="13515"/>
                    </a:cubicBezTo>
                    <a:cubicBezTo>
                      <a:pt x="21176" y="13437"/>
                      <a:pt x="21096" y="13397"/>
                      <a:pt x="21096" y="13319"/>
                    </a:cubicBezTo>
                    <a:cubicBezTo>
                      <a:pt x="20874" y="13358"/>
                      <a:pt x="20430" y="13163"/>
                      <a:pt x="20430" y="12577"/>
                    </a:cubicBezTo>
                    <a:cubicBezTo>
                      <a:pt x="20430" y="12538"/>
                      <a:pt x="20430" y="12538"/>
                      <a:pt x="20430" y="12538"/>
                    </a:cubicBezTo>
                    <a:cubicBezTo>
                      <a:pt x="20229" y="12538"/>
                      <a:pt x="20108" y="12304"/>
                      <a:pt x="19987" y="12108"/>
                    </a:cubicBezTo>
                    <a:cubicBezTo>
                      <a:pt x="20047" y="12069"/>
                      <a:pt x="20128" y="12030"/>
                      <a:pt x="20128" y="11796"/>
                    </a:cubicBezTo>
                    <a:cubicBezTo>
                      <a:pt x="20128" y="11640"/>
                      <a:pt x="20047" y="11523"/>
                      <a:pt x="20067" y="11327"/>
                    </a:cubicBezTo>
                    <a:cubicBezTo>
                      <a:pt x="19987" y="11288"/>
                      <a:pt x="19704" y="10937"/>
                      <a:pt x="19765" y="10624"/>
                    </a:cubicBezTo>
                    <a:cubicBezTo>
                      <a:pt x="19866" y="10234"/>
                      <a:pt x="19482" y="10116"/>
                      <a:pt x="19462" y="9648"/>
                    </a:cubicBezTo>
                    <a:cubicBezTo>
                      <a:pt x="19442" y="9648"/>
                      <a:pt x="19341" y="9492"/>
                      <a:pt x="19321" y="9452"/>
                    </a:cubicBezTo>
                    <a:cubicBezTo>
                      <a:pt x="19240" y="9531"/>
                      <a:pt x="19099" y="9687"/>
                      <a:pt x="19099" y="9921"/>
                    </a:cubicBezTo>
                    <a:cubicBezTo>
                      <a:pt x="19099" y="10195"/>
                      <a:pt x="18817" y="10820"/>
                      <a:pt x="18595" y="10820"/>
                    </a:cubicBezTo>
                    <a:cubicBezTo>
                      <a:pt x="18434" y="10820"/>
                      <a:pt x="18413" y="10429"/>
                      <a:pt x="18313" y="10429"/>
                    </a:cubicBezTo>
                    <a:cubicBezTo>
                      <a:pt x="18151" y="10429"/>
                      <a:pt x="18091" y="9609"/>
                      <a:pt x="18071" y="9218"/>
                    </a:cubicBezTo>
                    <a:cubicBezTo>
                      <a:pt x="18030" y="8749"/>
                      <a:pt x="17546" y="9101"/>
                      <a:pt x="17546" y="8437"/>
                    </a:cubicBezTo>
                    <a:cubicBezTo>
                      <a:pt x="17304" y="8398"/>
                      <a:pt x="17244" y="7812"/>
                      <a:pt x="17002" y="7812"/>
                    </a:cubicBezTo>
                    <a:cubicBezTo>
                      <a:pt x="16881" y="7812"/>
                      <a:pt x="16881" y="7968"/>
                      <a:pt x="16760" y="7968"/>
                    </a:cubicBezTo>
                    <a:cubicBezTo>
                      <a:pt x="16497" y="7968"/>
                      <a:pt x="16336" y="7695"/>
                      <a:pt x="16074" y="7695"/>
                    </a:cubicBezTo>
                    <a:cubicBezTo>
                      <a:pt x="15953" y="7695"/>
                      <a:pt x="15812" y="7812"/>
                      <a:pt x="15812" y="8124"/>
                    </a:cubicBezTo>
                    <a:cubicBezTo>
                      <a:pt x="15812" y="8281"/>
                      <a:pt x="16134" y="8515"/>
                      <a:pt x="15852" y="8867"/>
                    </a:cubicBezTo>
                    <a:cubicBezTo>
                      <a:pt x="15731" y="9023"/>
                      <a:pt x="16013" y="9413"/>
                      <a:pt x="16013" y="9648"/>
                    </a:cubicBezTo>
                    <a:cubicBezTo>
                      <a:pt x="16054" y="10156"/>
                      <a:pt x="15792" y="10312"/>
                      <a:pt x="15691" y="10390"/>
                    </a:cubicBezTo>
                    <a:cubicBezTo>
                      <a:pt x="15892" y="11054"/>
                      <a:pt x="16195" y="11288"/>
                      <a:pt x="16195" y="12421"/>
                    </a:cubicBezTo>
                    <a:cubicBezTo>
                      <a:pt x="16195" y="12733"/>
                      <a:pt x="15671" y="13515"/>
                      <a:pt x="15489" y="13554"/>
                    </a:cubicBezTo>
                    <a:cubicBezTo>
                      <a:pt x="15792" y="13866"/>
                      <a:pt x="15671" y="14804"/>
                      <a:pt x="15792" y="15116"/>
                    </a:cubicBezTo>
                    <a:cubicBezTo>
                      <a:pt x="15771" y="15194"/>
                      <a:pt x="15650" y="15311"/>
                      <a:pt x="15630" y="15507"/>
                    </a:cubicBezTo>
                    <a:cubicBezTo>
                      <a:pt x="15529" y="15507"/>
                      <a:pt x="15449" y="15858"/>
                      <a:pt x="15368" y="15741"/>
                    </a:cubicBezTo>
                    <a:cubicBezTo>
                      <a:pt x="15146" y="15390"/>
                      <a:pt x="14844" y="14843"/>
                      <a:pt x="14844" y="14335"/>
                    </a:cubicBezTo>
                    <a:cubicBezTo>
                      <a:pt x="14844" y="13788"/>
                      <a:pt x="14884" y="13358"/>
                      <a:pt x="14642" y="13046"/>
                    </a:cubicBezTo>
                    <a:cubicBezTo>
                      <a:pt x="14057" y="13046"/>
                      <a:pt x="14057" y="13046"/>
                      <a:pt x="14057" y="13046"/>
                    </a:cubicBezTo>
                    <a:cubicBezTo>
                      <a:pt x="13734" y="12577"/>
                      <a:pt x="13351" y="12304"/>
                      <a:pt x="12968" y="12030"/>
                    </a:cubicBezTo>
                    <a:cubicBezTo>
                      <a:pt x="12908" y="11952"/>
                      <a:pt x="12686" y="11679"/>
                      <a:pt x="12565" y="11679"/>
                    </a:cubicBezTo>
                    <a:cubicBezTo>
                      <a:pt x="12444" y="11679"/>
                      <a:pt x="12383" y="11952"/>
                      <a:pt x="12242" y="11952"/>
                    </a:cubicBezTo>
                    <a:cubicBezTo>
                      <a:pt x="12242" y="11523"/>
                      <a:pt x="12101" y="10546"/>
                      <a:pt x="11899" y="10546"/>
                    </a:cubicBezTo>
                    <a:cubicBezTo>
                      <a:pt x="11818" y="10546"/>
                      <a:pt x="11778" y="10702"/>
                      <a:pt x="11677" y="10741"/>
                    </a:cubicBezTo>
                    <a:cubicBezTo>
                      <a:pt x="11718" y="10507"/>
                      <a:pt x="11677" y="10468"/>
                      <a:pt x="11677" y="9960"/>
                    </a:cubicBezTo>
                    <a:cubicBezTo>
                      <a:pt x="11677" y="9257"/>
                      <a:pt x="11778" y="8867"/>
                      <a:pt x="12000" y="8437"/>
                    </a:cubicBezTo>
                    <a:cubicBezTo>
                      <a:pt x="12061" y="8320"/>
                      <a:pt x="12222" y="7656"/>
                      <a:pt x="12282" y="7578"/>
                    </a:cubicBezTo>
                    <a:cubicBezTo>
                      <a:pt x="12444" y="7499"/>
                      <a:pt x="12706" y="7656"/>
                      <a:pt x="12706" y="7265"/>
                    </a:cubicBezTo>
                    <a:cubicBezTo>
                      <a:pt x="12706" y="6992"/>
                      <a:pt x="12363" y="6953"/>
                      <a:pt x="12242" y="6835"/>
                    </a:cubicBezTo>
                    <a:cubicBezTo>
                      <a:pt x="12323" y="6875"/>
                      <a:pt x="12040" y="6523"/>
                      <a:pt x="12766" y="6953"/>
                    </a:cubicBezTo>
                    <a:cubicBezTo>
                      <a:pt x="12968" y="7070"/>
                      <a:pt x="12847" y="6601"/>
                      <a:pt x="12948" y="6601"/>
                    </a:cubicBezTo>
                    <a:cubicBezTo>
                      <a:pt x="12968" y="6601"/>
                      <a:pt x="13049" y="6601"/>
                      <a:pt x="13150" y="6601"/>
                    </a:cubicBezTo>
                    <a:cubicBezTo>
                      <a:pt x="13351" y="6601"/>
                      <a:pt x="13472" y="6171"/>
                      <a:pt x="13613" y="5976"/>
                    </a:cubicBezTo>
                    <a:cubicBezTo>
                      <a:pt x="13613" y="5703"/>
                      <a:pt x="13613" y="5703"/>
                      <a:pt x="13613" y="5703"/>
                    </a:cubicBezTo>
                    <a:cubicBezTo>
                      <a:pt x="13311" y="5546"/>
                      <a:pt x="13008" y="5664"/>
                      <a:pt x="12887" y="5117"/>
                    </a:cubicBezTo>
                    <a:cubicBezTo>
                      <a:pt x="12887" y="5117"/>
                      <a:pt x="12968" y="5117"/>
                      <a:pt x="13049" y="5117"/>
                    </a:cubicBezTo>
                    <a:cubicBezTo>
                      <a:pt x="13150" y="5273"/>
                      <a:pt x="13271" y="5507"/>
                      <a:pt x="13432" y="5507"/>
                    </a:cubicBezTo>
                    <a:cubicBezTo>
                      <a:pt x="13573" y="5507"/>
                      <a:pt x="13835" y="5156"/>
                      <a:pt x="13835" y="4961"/>
                    </a:cubicBezTo>
                    <a:cubicBezTo>
                      <a:pt x="13835" y="4882"/>
                      <a:pt x="13714" y="4570"/>
                      <a:pt x="13775" y="4570"/>
                    </a:cubicBezTo>
                    <a:cubicBezTo>
                      <a:pt x="13976" y="4570"/>
                      <a:pt x="14037" y="4922"/>
                      <a:pt x="14178" y="4922"/>
                    </a:cubicBezTo>
                    <a:cubicBezTo>
                      <a:pt x="14259" y="4922"/>
                      <a:pt x="14299" y="4804"/>
                      <a:pt x="14461" y="4804"/>
                    </a:cubicBezTo>
                    <a:cubicBezTo>
                      <a:pt x="14420" y="4687"/>
                      <a:pt x="14461" y="4375"/>
                      <a:pt x="14561" y="4687"/>
                    </a:cubicBezTo>
                    <a:cubicBezTo>
                      <a:pt x="14622" y="4882"/>
                      <a:pt x="15086" y="4101"/>
                      <a:pt x="15086" y="3906"/>
                    </a:cubicBezTo>
                    <a:cubicBezTo>
                      <a:pt x="15086" y="3750"/>
                      <a:pt x="14884" y="3554"/>
                      <a:pt x="14884" y="3476"/>
                    </a:cubicBezTo>
                    <a:cubicBezTo>
                      <a:pt x="14884" y="3320"/>
                      <a:pt x="14763" y="3047"/>
                      <a:pt x="15045" y="2812"/>
                    </a:cubicBezTo>
                    <a:cubicBezTo>
                      <a:pt x="15086" y="2656"/>
                      <a:pt x="15045" y="2656"/>
                      <a:pt x="15045" y="2383"/>
                    </a:cubicBezTo>
                    <a:cubicBezTo>
                      <a:pt x="14763" y="2383"/>
                      <a:pt x="14824" y="1953"/>
                      <a:pt x="14461" y="1953"/>
                    </a:cubicBezTo>
                    <a:cubicBezTo>
                      <a:pt x="14380" y="1914"/>
                      <a:pt x="14319" y="1836"/>
                      <a:pt x="14239" y="1836"/>
                    </a:cubicBezTo>
                    <a:cubicBezTo>
                      <a:pt x="14138" y="1836"/>
                      <a:pt x="14017" y="1953"/>
                      <a:pt x="14017" y="2148"/>
                    </a:cubicBezTo>
                    <a:cubicBezTo>
                      <a:pt x="14017" y="2383"/>
                      <a:pt x="14158" y="2461"/>
                      <a:pt x="14158" y="2617"/>
                    </a:cubicBezTo>
                    <a:cubicBezTo>
                      <a:pt x="14158" y="2812"/>
                      <a:pt x="13956" y="2812"/>
                      <a:pt x="13896" y="2969"/>
                    </a:cubicBezTo>
                    <a:cubicBezTo>
                      <a:pt x="13835" y="3281"/>
                      <a:pt x="13855" y="3515"/>
                      <a:pt x="13734" y="3828"/>
                    </a:cubicBezTo>
                    <a:cubicBezTo>
                      <a:pt x="13533" y="4297"/>
                      <a:pt x="13271" y="3515"/>
                      <a:pt x="13271" y="3320"/>
                    </a:cubicBezTo>
                    <a:cubicBezTo>
                      <a:pt x="13271" y="3086"/>
                      <a:pt x="13412" y="3164"/>
                      <a:pt x="13412" y="2890"/>
                    </a:cubicBezTo>
                    <a:cubicBezTo>
                      <a:pt x="13412" y="2773"/>
                      <a:pt x="13150" y="2305"/>
                      <a:pt x="13089" y="2305"/>
                    </a:cubicBezTo>
                    <a:cubicBezTo>
                      <a:pt x="12827" y="2305"/>
                      <a:pt x="13008" y="3047"/>
                      <a:pt x="12726" y="3047"/>
                    </a:cubicBezTo>
                    <a:cubicBezTo>
                      <a:pt x="12726" y="2734"/>
                      <a:pt x="12706" y="2539"/>
                      <a:pt x="12524" y="2344"/>
                    </a:cubicBezTo>
                    <a:cubicBezTo>
                      <a:pt x="12545" y="2265"/>
                      <a:pt x="12565" y="2226"/>
                      <a:pt x="12605" y="2148"/>
                    </a:cubicBezTo>
                    <a:cubicBezTo>
                      <a:pt x="12464" y="1992"/>
                      <a:pt x="12282" y="2148"/>
                      <a:pt x="12161" y="1875"/>
                    </a:cubicBezTo>
                    <a:cubicBezTo>
                      <a:pt x="12222" y="1836"/>
                      <a:pt x="12383" y="1719"/>
                      <a:pt x="12383" y="1484"/>
                    </a:cubicBezTo>
                    <a:cubicBezTo>
                      <a:pt x="12383" y="1133"/>
                      <a:pt x="12121" y="1172"/>
                      <a:pt x="12121" y="898"/>
                    </a:cubicBezTo>
                    <a:cubicBezTo>
                      <a:pt x="12121" y="391"/>
                      <a:pt x="11919" y="39"/>
                      <a:pt x="11576" y="0"/>
                    </a:cubicBezTo>
                    <a:cubicBezTo>
                      <a:pt x="11395" y="0"/>
                      <a:pt x="11476" y="234"/>
                      <a:pt x="11476" y="391"/>
                    </a:cubicBezTo>
                    <a:cubicBezTo>
                      <a:pt x="11375" y="430"/>
                      <a:pt x="11234" y="391"/>
                      <a:pt x="11234" y="664"/>
                    </a:cubicBezTo>
                    <a:cubicBezTo>
                      <a:pt x="11234" y="820"/>
                      <a:pt x="11314" y="898"/>
                      <a:pt x="11314" y="1094"/>
                    </a:cubicBezTo>
                    <a:cubicBezTo>
                      <a:pt x="11314" y="1250"/>
                      <a:pt x="11193" y="1250"/>
                      <a:pt x="11193" y="1484"/>
                    </a:cubicBezTo>
                    <a:cubicBezTo>
                      <a:pt x="11193" y="2031"/>
                      <a:pt x="11798" y="1719"/>
                      <a:pt x="11798" y="2305"/>
                    </a:cubicBezTo>
                    <a:cubicBezTo>
                      <a:pt x="11798" y="2383"/>
                      <a:pt x="11718" y="2812"/>
                      <a:pt x="11718" y="2812"/>
                    </a:cubicBezTo>
                    <a:cubicBezTo>
                      <a:pt x="11778" y="2734"/>
                      <a:pt x="11839" y="2695"/>
                      <a:pt x="11919" y="2617"/>
                    </a:cubicBezTo>
                    <a:cubicBezTo>
                      <a:pt x="12020" y="3320"/>
                      <a:pt x="11435" y="3008"/>
                      <a:pt x="11435" y="3828"/>
                    </a:cubicBezTo>
                    <a:cubicBezTo>
                      <a:pt x="11153" y="3984"/>
                      <a:pt x="11375" y="3437"/>
                      <a:pt x="11314" y="3242"/>
                    </a:cubicBezTo>
                    <a:cubicBezTo>
                      <a:pt x="11274" y="3164"/>
                      <a:pt x="11032" y="3047"/>
                      <a:pt x="10911" y="3047"/>
                    </a:cubicBezTo>
                    <a:cubicBezTo>
                      <a:pt x="10750" y="3047"/>
                      <a:pt x="10689" y="3203"/>
                      <a:pt x="10689" y="3593"/>
                    </a:cubicBezTo>
                    <a:cubicBezTo>
                      <a:pt x="10528" y="3554"/>
                      <a:pt x="10427" y="3593"/>
                      <a:pt x="9923" y="3593"/>
                    </a:cubicBezTo>
                    <a:cubicBezTo>
                      <a:pt x="9439" y="3593"/>
                      <a:pt x="8894" y="3242"/>
                      <a:pt x="8773" y="2539"/>
                    </a:cubicBezTo>
                    <a:cubicBezTo>
                      <a:pt x="8612" y="2617"/>
                      <a:pt x="8067" y="2656"/>
                      <a:pt x="8067" y="3047"/>
                    </a:cubicBezTo>
                    <a:cubicBezTo>
                      <a:pt x="8067" y="3164"/>
                      <a:pt x="8128" y="3203"/>
                      <a:pt x="8188" y="3203"/>
                    </a:cubicBezTo>
                    <a:cubicBezTo>
                      <a:pt x="8329" y="3203"/>
                      <a:pt x="8571" y="3086"/>
                      <a:pt x="8672" y="2929"/>
                    </a:cubicBezTo>
                    <a:cubicBezTo>
                      <a:pt x="8713" y="3515"/>
                      <a:pt x="8249" y="3047"/>
                      <a:pt x="8249" y="3633"/>
                    </a:cubicBezTo>
                    <a:cubicBezTo>
                      <a:pt x="8249" y="3750"/>
                      <a:pt x="8350" y="4140"/>
                      <a:pt x="8309" y="4140"/>
                    </a:cubicBezTo>
                    <a:cubicBezTo>
                      <a:pt x="8128" y="4140"/>
                      <a:pt x="8087" y="3711"/>
                      <a:pt x="7946" y="3593"/>
                    </a:cubicBezTo>
                    <a:cubicBezTo>
                      <a:pt x="7805" y="3476"/>
                      <a:pt x="7805" y="3476"/>
                      <a:pt x="7805" y="3476"/>
                    </a:cubicBezTo>
                    <a:cubicBezTo>
                      <a:pt x="7603" y="3476"/>
                      <a:pt x="7462" y="3476"/>
                      <a:pt x="7240" y="3476"/>
                    </a:cubicBezTo>
                    <a:cubicBezTo>
                      <a:pt x="7059" y="3476"/>
                      <a:pt x="6938" y="3593"/>
                      <a:pt x="6756" y="3633"/>
                    </a:cubicBezTo>
                    <a:cubicBezTo>
                      <a:pt x="6393" y="3633"/>
                      <a:pt x="6393" y="3398"/>
                      <a:pt x="6393" y="3359"/>
                    </a:cubicBezTo>
                    <a:cubicBezTo>
                      <a:pt x="6393" y="3203"/>
                      <a:pt x="6676" y="3242"/>
                      <a:pt x="6716" y="3164"/>
                    </a:cubicBezTo>
                    <a:cubicBezTo>
                      <a:pt x="6474" y="2500"/>
                      <a:pt x="6514" y="2578"/>
                      <a:pt x="6010" y="2656"/>
                    </a:cubicBezTo>
                    <a:cubicBezTo>
                      <a:pt x="5466" y="2734"/>
                      <a:pt x="5203" y="1875"/>
                      <a:pt x="4659" y="1875"/>
                    </a:cubicBezTo>
                    <a:cubicBezTo>
                      <a:pt x="4497" y="1875"/>
                      <a:pt x="4417" y="2109"/>
                      <a:pt x="4276" y="2109"/>
                    </a:cubicBezTo>
                    <a:cubicBezTo>
                      <a:pt x="4175" y="2109"/>
                      <a:pt x="4074" y="1797"/>
                      <a:pt x="4074" y="1641"/>
                    </a:cubicBezTo>
                    <a:cubicBezTo>
                      <a:pt x="3892" y="1719"/>
                      <a:pt x="3892" y="2109"/>
                      <a:pt x="3711" y="2109"/>
                    </a:cubicBezTo>
                    <a:cubicBezTo>
                      <a:pt x="3550" y="2109"/>
                      <a:pt x="3308" y="1328"/>
                      <a:pt x="3247" y="1328"/>
                    </a:cubicBezTo>
                    <a:cubicBezTo>
                      <a:pt x="3086" y="1328"/>
                      <a:pt x="3146" y="1836"/>
                      <a:pt x="2945" y="1836"/>
                    </a:cubicBezTo>
                    <a:cubicBezTo>
                      <a:pt x="2884" y="1836"/>
                      <a:pt x="2824" y="1719"/>
                      <a:pt x="2783" y="1562"/>
                    </a:cubicBezTo>
                    <a:cubicBezTo>
                      <a:pt x="2521" y="1719"/>
                      <a:pt x="2420" y="1719"/>
                      <a:pt x="2178" y="1914"/>
                    </a:cubicBezTo>
                    <a:cubicBezTo>
                      <a:pt x="2077" y="1953"/>
                      <a:pt x="1835" y="2305"/>
                      <a:pt x="1755" y="2148"/>
                    </a:cubicBezTo>
                    <a:cubicBezTo>
                      <a:pt x="1533" y="1719"/>
                      <a:pt x="1573" y="2265"/>
                      <a:pt x="1492" y="2265"/>
                    </a:cubicBezTo>
                    <a:cubicBezTo>
                      <a:pt x="908" y="2305"/>
                      <a:pt x="1311" y="2734"/>
                      <a:pt x="1230" y="2734"/>
                    </a:cubicBezTo>
                    <a:cubicBezTo>
                      <a:pt x="1008" y="2734"/>
                      <a:pt x="605" y="2617"/>
                      <a:pt x="242" y="2187"/>
                    </a:cubicBezTo>
                    <a:cubicBezTo>
                      <a:pt x="222" y="2187"/>
                      <a:pt x="121" y="2031"/>
                      <a:pt x="121" y="1992"/>
                    </a:cubicBezTo>
                    <a:cubicBezTo>
                      <a:pt x="61" y="2031"/>
                      <a:pt x="101" y="2031"/>
                      <a:pt x="0" y="1992"/>
                    </a:cubicBezTo>
                    <a:cubicBezTo>
                      <a:pt x="0" y="9452"/>
                      <a:pt x="0" y="9452"/>
                      <a:pt x="0" y="9452"/>
                    </a:cubicBezTo>
                    <a:cubicBezTo>
                      <a:pt x="121" y="9648"/>
                      <a:pt x="383" y="9374"/>
                      <a:pt x="504" y="9687"/>
                    </a:cubicBezTo>
                    <a:cubicBezTo>
                      <a:pt x="585" y="9921"/>
                      <a:pt x="766" y="10390"/>
                      <a:pt x="948" y="10390"/>
                    </a:cubicBezTo>
                    <a:cubicBezTo>
                      <a:pt x="1069" y="10390"/>
                      <a:pt x="1069" y="10038"/>
                      <a:pt x="1190" y="9960"/>
                    </a:cubicBezTo>
                    <a:cubicBezTo>
                      <a:pt x="1250" y="9921"/>
                      <a:pt x="1291" y="9960"/>
                      <a:pt x="1351" y="9882"/>
                    </a:cubicBezTo>
                    <a:cubicBezTo>
                      <a:pt x="1634" y="10390"/>
                      <a:pt x="1755" y="10585"/>
                      <a:pt x="1997" y="11249"/>
                    </a:cubicBezTo>
                    <a:cubicBezTo>
                      <a:pt x="2017" y="11327"/>
                      <a:pt x="2077" y="11366"/>
                      <a:pt x="2118" y="11523"/>
                    </a:cubicBezTo>
                    <a:cubicBezTo>
                      <a:pt x="2138" y="11718"/>
                      <a:pt x="2178" y="11952"/>
                      <a:pt x="2279" y="12148"/>
                    </a:cubicBezTo>
                    <a:cubicBezTo>
                      <a:pt x="2339" y="12265"/>
                      <a:pt x="2440" y="12226"/>
                      <a:pt x="2501" y="12343"/>
                    </a:cubicBezTo>
                    <a:cubicBezTo>
                      <a:pt x="2582" y="12499"/>
                      <a:pt x="2723" y="12577"/>
                      <a:pt x="2723" y="12968"/>
                    </a:cubicBezTo>
                    <a:cubicBezTo>
                      <a:pt x="2723" y="13124"/>
                      <a:pt x="2602" y="13163"/>
                      <a:pt x="2602" y="13280"/>
                    </a:cubicBezTo>
                    <a:cubicBezTo>
                      <a:pt x="2602" y="13397"/>
                      <a:pt x="2662" y="13437"/>
                      <a:pt x="2662" y="13554"/>
                    </a:cubicBezTo>
                    <a:cubicBezTo>
                      <a:pt x="2662" y="13749"/>
                      <a:pt x="2622" y="14218"/>
                      <a:pt x="2743" y="14296"/>
                    </a:cubicBezTo>
                    <a:cubicBezTo>
                      <a:pt x="2824" y="14335"/>
                      <a:pt x="2884" y="14335"/>
                      <a:pt x="2945" y="14452"/>
                    </a:cubicBezTo>
                    <a:cubicBezTo>
                      <a:pt x="3025" y="14569"/>
                      <a:pt x="2924" y="14804"/>
                      <a:pt x="3025" y="14960"/>
                    </a:cubicBezTo>
                    <a:cubicBezTo>
                      <a:pt x="3025" y="14960"/>
                      <a:pt x="3267" y="15233"/>
                      <a:pt x="3267" y="15272"/>
                    </a:cubicBezTo>
                    <a:cubicBezTo>
                      <a:pt x="3328" y="15663"/>
                      <a:pt x="3348" y="16132"/>
                      <a:pt x="3650" y="16132"/>
                    </a:cubicBezTo>
                    <a:cubicBezTo>
                      <a:pt x="3691" y="16483"/>
                      <a:pt x="4013" y="16249"/>
                      <a:pt x="4074" y="16718"/>
                    </a:cubicBezTo>
                    <a:cubicBezTo>
                      <a:pt x="4114" y="16874"/>
                      <a:pt x="4336" y="16913"/>
                      <a:pt x="4417" y="17069"/>
                    </a:cubicBezTo>
                    <a:cubicBezTo>
                      <a:pt x="4437" y="17108"/>
                      <a:pt x="4477" y="17147"/>
                      <a:pt x="4518" y="17186"/>
                    </a:cubicBezTo>
                    <a:cubicBezTo>
                      <a:pt x="4518" y="17186"/>
                      <a:pt x="4518" y="17186"/>
                      <a:pt x="4518" y="17186"/>
                    </a:cubicBezTo>
                    <a:cubicBezTo>
                      <a:pt x="11637" y="17186"/>
                      <a:pt x="11637" y="17186"/>
                      <a:pt x="11637" y="17186"/>
                    </a:cubicBezTo>
                    <a:cubicBezTo>
                      <a:pt x="11637" y="16991"/>
                      <a:pt x="11637" y="16991"/>
                      <a:pt x="11637" y="16991"/>
                    </a:cubicBezTo>
                    <a:cubicBezTo>
                      <a:pt x="11758" y="17147"/>
                      <a:pt x="11738" y="17303"/>
                      <a:pt x="11859" y="17421"/>
                    </a:cubicBezTo>
                    <a:cubicBezTo>
                      <a:pt x="12303" y="17421"/>
                      <a:pt x="12303" y="17421"/>
                      <a:pt x="12303" y="17421"/>
                    </a:cubicBezTo>
                    <a:cubicBezTo>
                      <a:pt x="12484" y="17772"/>
                      <a:pt x="12706" y="17772"/>
                      <a:pt x="13049" y="17772"/>
                    </a:cubicBezTo>
                    <a:cubicBezTo>
                      <a:pt x="13150" y="17694"/>
                      <a:pt x="13170" y="17772"/>
                      <a:pt x="13271" y="17655"/>
                    </a:cubicBezTo>
                    <a:cubicBezTo>
                      <a:pt x="13351" y="17577"/>
                      <a:pt x="13331" y="17303"/>
                      <a:pt x="13412" y="17303"/>
                    </a:cubicBezTo>
                    <a:cubicBezTo>
                      <a:pt x="13513" y="17303"/>
                      <a:pt x="13593" y="17616"/>
                      <a:pt x="13634" y="17694"/>
                    </a:cubicBezTo>
                    <a:cubicBezTo>
                      <a:pt x="13654" y="17616"/>
                      <a:pt x="13634" y="17499"/>
                      <a:pt x="13634" y="17460"/>
                    </a:cubicBezTo>
                    <a:cubicBezTo>
                      <a:pt x="13654" y="17460"/>
                      <a:pt x="13674" y="17460"/>
                      <a:pt x="13714" y="17460"/>
                    </a:cubicBezTo>
                    <a:cubicBezTo>
                      <a:pt x="13755" y="17460"/>
                      <a:pt x="14138" y="18046"/>
                      <a:pt x="14158" y="18085"/>
                    </a:cubicBezTo>
                    <a:cubicBezTo>
                      <a:pt x="14198" y="18319"/>
                      <a:pt x="14158" y="18475"/>
                      <a:pt x="14218" y="18631"/>
                    </a:cubicBezTo>
                    <a:cubicBezTo>
                      <a:pt x="14420" y="19022"/>
                      <a:pt x="14703" y="18944"/>
                      <a:pt x="14924" y="19217"/>
                    </a:cubicBezTo>
                    <a:cubicBezTo>
                      <a:pt x="15166" y="19217"/>
                      <a:pt x="15166" y="19217"/>
                      <a:pt x="15166" y="19217"/>
                    </a:cubicBezTo>
                    <a:cubicBezTo>
                      <a:pt x="15267" y="19335"/>
                      <a:pt x="15388" y="19530"/>
                      <a:pt x="15388" y="19764"/>
                    </a:cubicBezTo>
                    <a:cubicBezTo>
                      <a:pt x="15388" y="19881"/>
                      <a:pt x="15368" y="19999"/>
                      <a:pt x="15308" y="19999"/>
                    </a:cubicBezTo>
                    <a:cubicBezTo>
                      <a:pt x="15207" y="19999"/>
                      <a:pt x="15086" y="19764"/>
                      <a:pt x="15066" y="19686"/>
                    </a:cubicBezTo>
                    <a:cubicBezTo>
                      <a:pt x="15025" y="19959"/>
                      <a:pt x="14945" y="20780"/>
                      <a:pt x="14824" y="20780"/>
                    </a:cubicBezTo>
                    <a:cubicBezTo>
                      <a:pt x="14723" y="21014"/>
                      <a:pt x="14622" y="21131"/>
                      <a:pt x="14622" y="21366"/>
                    </a:cubicBezTo>
                    <a:cubicBezTo>
                      <a:pt x="14642" y="21444"/>
                      <a:pt x="14703" y="21600"/>
                      <a:pt x="14763" y="21600"/>
                    </a:cubicBezTo>
                    <a:cubicBezTo>
                      <a:pt x="14844" y="21600"/>
                      <a:pt x="14844" y="21483"/>
                      <a:pt x="14884" y="21405"/>
                    </a:cubicBezTo>
                    <a:cubicBezTo>
                      <a:pt x="14965" y="21248"/>
                      <a:pt x="15086" y="21288"/>
                      <a:pt x="15227" y="21288"/>
                    </a:cubicBezTo>
                    <a:cubicBezTo>
                      <a:pt x="15328" y="21288"/>
                      <a:pt x="15388" y="21405"/>
                      <a:pt x="15429" y="21327"/>
                    </a:cubicBezTo>
                    <a:cubicBezTo>
                      <a:pt x="15489" y="21288"/>
                      <a:pt x="15529" y="21248"/>
                      <a:pt x="15570" y="21209"/>
                    </a:cubicBezTo>
                    <a:cubicBezTo>
                      <a:pt x="15570" y="21092"/>
                      <a:pt x="15550" y="21014"/>
                      <a:pt x="15529" y="20936"/>
                    </a:cubicBezTo>
                    <a:cubicBezTo>
                      <a:pt x="15509" y="20858"/>
                      <a:pt x="15469" y="20819"/>
                      <a:pt x="15469" y="20741"/>
                    </a:cubicBezTo>
                    <a:cubicBezTo>
                      <a:pt x="15469" y="20663"/>
                      <a:pt x="15550" y="20624"/>
                      <a:pt x="15590" y="20624"/>
                    </a:cubicBezTo>
                    <a:cubicBezTo>
                      <a:pt x="15771" y="20506"/>
                      <a:pt x="16195" y="20272"/>
                      <a:pt x="16417" y="20272"/>
                    </a:cubicBezTo>
                    <a:cubicBezTo>
                      <a:pt x="16437" y="20272"/>
                      <a:pt x="16760" y="19647"/>
                      <a:pt x="16820" y="19569"/>
                    </a:cubicBezTo>
                    <a:cubicBezTo>
                      <a:pt x="16861" y="19491"/>
                      <a:pt x="17082" y="19530"/>
                      <a:pt x="17284" y="19530"/>
                    </a:cubicBezTo>
                    <a:cubicBezTo>
                      <a:pt x="17365" y="19530"/>
                      <a:pt x="17425" y="19530"/>
                      <a:pt x="17506" y="19530"/>
                    </a:cubicBezTo>
                    <a:cubicBezTo>
                      <a:pt x="17587" y="19530"/>
                      <a:pt x="17667" y="19452"/>
                      <a:pt x="17728" y="19452"/>
                    </a:cubicBezTo>
                    <a:cubicBezTo>
                      <a:pt x="17829" y="19413"/>
                      <a:pt x="17788" y="19374"/>
                      <a:pt x="17829" y="19295"/>
                    </a:cubicBezTo>
                    <a:cubicBezTo>
                      <a:pt x="17990" y="18983"/>
                      <a:pt x="17990" y="18397"/>
                      <a:pt x="18212" y="18085"/>
                    </a:cubicBezTo>
                    <a:cubicBezTo>
                      <a:pt x="18313" y="18358"/>
                      <a:pt x="18474" y="17967"/>
                      <a:pt x="18555" y="18241"/>
                    </a:cubicBezTo>
                    <a:cubicBezTo>
                      <a:pt x="18676" y="18671"/>
                      <a:pt x="18595" y="19295"/>
                      <a:pt x="18716" y="19725"/>
                    </a:cubicBezTo>
                    <a:lnTo>
                      <a:pt x="18716" y="19647"/>
                    </a:ln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/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39" name="iṡḻïḑè"/>
              <p:cNvSpPr/>
              <p:nvPr/>
            </p:nvSpPr>
            <p:spPr>
              <a:xfrm>
                <a:off x="3135710" y="2938023"/>
                <a:ext cx="22459" cy="2165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19418" extrusionOk="0">
                    <a:moveTo>
                      <a:pt x="21600" y="7855"/>
                    </a:moveTo>
                    <a:cubicBezTo>
                      <a:pt x="21600" y="0"/>
                      <a:pt x="21600" y="0"/>
                      <a:pt x="21600" y="0"/>
                    </a:cubicBezTo>
                    <a:cubicBezTo>
                      <a:pt x="19200" y="0"/>
                      <a:pt x="14400" y="0"/>
                      <a:pt x="12000" y="0"/>
                    </a:cubicBezTo>
                    <a:cubicBezTo>
                      <a:pt x="4800" y="0"/>
                      <a:pt x="0" y="9818"/>
                      <a:pt x="0" y="17673"/>
                    </a:cubicBezTo>
                    <a:cubicBezTo>
                      <a:pt x="0" y="21600"/>
                      <a:pt x="4800" y="17673"/>
                      <a:pt x="9600" y="17673"/>
                    </a:cubicBezTo>
                    <a:cubicBezTo>
                      <a:pt x="14400" y="17673"/>
                      <a:pt x="19200" y="9818"/>
                      <a:pt x="21600" y="7855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40" name="îṩļidé"/>
              <p:cNvSpPr/>
              <p:nvPr/>
            </p:nvSpPr>
            <p:spPr>
              <a:xfrm>
                <a:off x="4250194" y="998068"/>
                <a:ext cx="300378" cy="13111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431" y="11545"/>
                    </a:moveTo>
                    <a:cubicBezTo>
                      <a:pt x="20925" y="14152"/>
                      <a:pt x="19069" y="16759"/>
                      <a:pt x="18225" y="17503"/>
                    </a:cubicBezTo>
                    <a:cubicBezTo>
                      <a:pt x="16369" y="18993"/>
                      <a:pt x="15019" y="21600"/>
                      <a:pt x="12488" y="21600"/>
                    </a:cubicBezTo>
                    <a:cubicBezTo>
                      <a:pt x="9619" y="21600"/>
                      <a:pt x="7762" y="20110"/>
                      <a:pt x="5737" y="18621"/>
                    </a:cubicBezTo>
                    <a:cubicBezTo>
                      <a:pt x="4725" y="18248"/>
                      <a:pt x="4050" y="15641"/>
                      <a:pt x="2362" y="15641"/>
                    </a:cubicBezTo>
                    <a:cubicBezTo>
                      <a:pt x="2700" y="15269"/>
                      <a:pt x="2869" y="14897"/>
                      <a:pt x="3037" y="14897"/>
                    </a:cubicBezTo>
                    <a:cubicBezTo>
                      <a:pt x="3037" y="12662"/>
                      <a:pt x="3375" y="11917"/>
                      <a:pt x="3544" y="10055"/>
                    </a:cubicBezTo>
                    <a:cubicBezTo>
                      <a:pt x="2362" y="9310"/>
                      <a:pt x="1012" y="11172"/>
                      <a:pt x="337" y="9310"/>
                    </a:cubicBezTo>
                    <a:cubicBezTo>
                      <a:pt x="1350" y="9310"/>
                      <a:pt x="3375" y="8566"/>
                      <a:pt x="4219" y="7821"/>
                    </a:cubicBezTo>
                    <a:cubicBezTo>
                      <a:pt x="3881" y="7448"/>
                      <a:pt x="3881" y="7076"/>
                      <a:pt x="3881" y="6703"/>
                    </a:cubicBezTo>
                    <a:cubicBezTo>
                      <a:pt x="3037" y="6703"/>
                      <a:pt x="169" y="4841"/>
                      <a:pt x="0" y="2979"/>
                    </a:cubicBezTo>
                    <a:cubicBezTo>
                      <a:pt x="675" y="2607"/>
                      <a:pt x="1181" y="2979"/>
                      <a:pt x="1519" y="3352"/>
                    </a:cubicBezTo>
                    <a:cubicBezTo>
                      <a:pt x="1519" y="2979"/>
                      <a:pt x="1519" y="2607"/>
                      <a:pt x="1519" y="1862"/>
                    </a:cubicBezTo>
                    <a:cubicBezTo>
                      <a:pt x="2194" y="1862"/>
                      <a:pt x="2362" y="0"/>
                      <a:pt x="2869" y="0"/>
                    </a:cubicBezTo>
                    <a:cubicBezTo>
                      <a:pt x="3037" y="0"/>
                      <a:pt x="3206" y="0"/>
                      <a:pt x="3544" y="0"/>
                    </a:cubicBezTo>
                    <a:cubicBezTo>
                      <a:pt x="3544" y="1117"/>
                      <a:pt x="3881" y="1490"/>
                      <a:pt x="3881" y="2607"/>
                    </a:cubicBezTo>
                    <a:cubicBezTo>
                      <a:pt x="3881" y="3724"/>
                      <a:pt x="4556" y="5959"/>
                      <a:pt x="5062" y="5959"/>
                    </a:cubicBezTo>
                    <a:cubicBezTo>
                      <a:pt x="5569" y="5959"/>
                      <a:pt x="6075" y="5214"/>
                      <a:pt x="6412" y="4841"/>
                    </a:cubicBezTo>
                    <a:cubicBezTo>
                      <a:pt x="6244" y="3724"/>
                      <a:pt x="6244" y="3352"/>
                      <a:pt x="6412" y="2979"/>
                    </a:cubicBezTo>
                    <a:cubicBezTo>
                      <a:pt x="6750" y="3352"/>
                      <a:pt x="6919" y="4469"/>
                      <a:pt x="7425" y="4469"/>
                    </a:cubicBezTo>
                    <a:cubicBezTo>
                      <a:pt x="9112" y="3352"/>
                      <a:pt x="9112" y="3352"/>
                      <a:pt x="9112" y="3352"/>
                    </a:cubicBezTo>
                    <a:cubicBezTo>
                      <a:pt x="9787" y="3724"/>
                      <a:pt x="9956" y="4097"/>
                      <a:pt x="10125" y="4469"/>
                    </a:cubicBezTo>
                    <a:cubicBezTo>
                      <a:pt x="10125" y="4097"/>
                      <a:pt x="10125" y="3352"/>
                      <a:pt x="10125" y="2979"/>
                    </a:cubicBezTo>
                    <a:cubicBezTo>
                      <a:pt x="11306" y="2979"/>
                      <a:pt x="11813" y="3352"/>
                      <a:pt x="12488" y="3352"/>
                    </a:cubicBezTo>
                    <a:cubicBezTo>
                      <a:pt x="13500" y="3352"/>
                      <a:pt x="14344" y="1490"/>
                      <a:pt x="15019" y="2979"/>
                    </a:cubicBezTo>
                    <a:cubicBezTo>
                      <a:pt x="15019" y="1490"/>
                      <a:pt x="15188" y="1117"/>
                      <a:pt x="15356" y="372"/>
                    </a:cubicBezTo>
                    <a:cubicBezTo>
                      <a:pt x="15863" y="745"/>
                      <a:pt x="15863" y="745"/>
                      <a:pt x="16200" y="372"/>
                    </a:cubicBezTo>
                    <a:cubicBezTo>
                      <a:pt x="16200" y="2234"/>
                      <a:pt x="16875" y="2607"/>
                      <a:pt x="17550" y="2607"/>
                    </a:cubicBezTo>
                    <a:cubicBezTo>
                      <a:pt x="18225" y="2607"/>
                      <a:pt x="18731" y="1490"/>
                      <a:pt x="19406" y="1490"/>
                    </a:cubicBezTo>
                    <a:cubicBezTo>
                      <a:pt x="19069" y="1862"/>
                      <a:pt x="18900" y="2607"/>
                      <a:pt x="18900" y="2979"/>
                    </a:cubicBezTo>
                    <a:cubicBezTo>
                      <a:pt x="18900" y="7821"/>
                      <a:pt x="21600" y="6703"/>
                      <a:pt x="21600" y="11172"/>
                    </a:cubicBezTo>
                    <a:lnTo>
                      <a:pt x="21431" y="11545"/>
                    </a:ln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41" name="îS1ïďê"/>
              <p:cNvSpPr/>
              <p:nvPr/>
            </p:nvSpPr>
            <p:spPr>
              <a:xfrm>
                <a:off x="2450738" y="2574115"/>
                <a:ext cx="308800" cy="10168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19200"/>
                    </a:moveTo>
                    <a:cubicBezTo>
                      <a:pt x="20940" y="21600"/>
                      <a:pt x="19621" y="21600"/>
                      <a:pt x="18797" y="21600"/>
                    </a:cubicBezTo>
                    <a:cubicBezTo>
                      <a:pt x="17148" y="21600"/>
                      <a:pt x="15994" y="20160"/>
                      <a:pt x="14510" y="20160"/>
                    </a:cubicBezTo>
                    <a:cubicBezTo>
                      <a:pt x="14510" y="19680"/>
                      <a:pt x="14510" y="19200"/>
                      <a:pt x="14510" y="18720"/>
                    </a:cubicBezTo>
                    <a:cubicBezTo>
                      <a:pt x="14840" y="18720"/>
                      <a:pt x="15169" y="18240"/>
                      <a:pt x="15334" y="16800"/>
                    </a:cubicBezTo>
                    <a:cubicBezTo>
                      <a:pt x="14180" y="15360"/>
                      <a:pt x="13026" y="15840"/>
                      <a:pt x="12861" y="12480"/>
                    </a:cubicBezTo>
                    <a:cubicBezTo>
                      <a:pt x="12202" y="12480"/>
                      <a:pt x="12366" y="11040"/>
                      <a:pt x="12037" y="10560"/>
                    </a:cubicBezTo>
                    <a:cubicBezTo>
                      <a:pt x="11377" y="9600"/>
                      <a:pt x="11047" y="10560"/>
                      <a:pt x="10553" y="10560"/>
                    </a:cubicBezTo>
                    <a:cubicBezTo>
                      <a:pt x="9398" y="10560"/>
                      <a:pt x="8904" y="7200"/>
                      <a:pt x="7915" y="7200"/>
                    </a:cubicBezTo>
                    <a:cubicBezTo>
                      <a:pt x="5771" y="7200"/>
                      <a:pt x="5771" y="7200"/>
                      <a:pt x="5771" y="7200"/>
                    </a:cubicBezTo>
                    <a:cubicBezTo>
                      <a:pt x="5441" y="6240"/>
                      <a:pt x="5441" y="5760"/>
                      <a:pt x="5606" y="4800"/>
                    </a:cubicBezTo>
                    <a:cubicBezTo>
                      <a:pt x="5441" y="4320"/>
                      <a:pt x="4947" y="4320"/>
                      <a:pt x="4617" y="4320"/>
                    </a:cubicBezTo>
                    <a:cubicBezTo>
                      <a:pt x="3298" y="4320"/>
                      <a:pt x="1319" y="7200"/>
                      <a:pt x="660" y="9600"/>
                    </a:cubicBezTo>
                    <a:cubicBezTo>
                      <a:pt x="0" y="9600"/>
                      <a:pt x="0" y="9600"/>
                      <a:pt x="0" y="9600"/>
                    </a:cubicBezTo>
                    <a:cubicBezTo>
                      <a:pt x="1154" y="3840"/>
                      <a:pt x="2638" y="0"/>
                      <a:pt x="5936" y="0"/>
                    </a:cubicBezTo>
                    <a:cubicBezTo>
                      <a:pt x="9069" y="0"/>
                      <a:pt x="10553" y="5280"/>
                      <a:pt x="13026" y="5280"/>
                    </a:cubicBezTo>
                    <a:cubicBezTo>
                      <a:pt x="13521" y="5280"/>
                      <a:pt x="14180" y="7680"/>
                      <a:pt x="14180" y="8160"/>
                    </a:cubicBezTo>
                    <a:cubicBezTo>
                      <a:pt x="15334" y="11040"/>
                      <a:pt x="17148" y="13440"/>
                      <a:pt x="18797" y="13440"/>
                    </a:cubicBezTo>
                    <a:cubicBezTo>
                      <a:pt x="18797" y="13440"/>
                      <a:pt x="18632" y="14400"/>
                      <a:pt x="18797" y="14880"/>
                    </a:cubicBezTo>
                    <a:cubicBezTo>
                      <a:pt x="19786" y="14880"/>
                      <a:pt x="19786" y="14880"/>
                      <a:pt x="19786" y="14880"/>
                    </a:cubicBezTo>
                    <a:cubicBezTo>
                      <a:pt x="20611" y="15360"/>
                      <a:pt x="20940" y="18720"/>
                      <a:pt x="21600" y="1920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42" name="iŝḻidê"/>
              <p:cNvSpPr/>
              <p:nvPr/>
            </p:nvSpPr>
            <p:spPr>
              <a:xfrm>
                <a:off x="2492848" y="2611576"/>
                <a:ext cx="15508" cy="1743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886" h="20100" extrusionOk="0">
                    <a:moveTo>
                      <a:pt x="18514" y="0"/>
                    </a:moveTo>
                    <a:cubicBezTo>
                      <a:pt x="18514" y="8100"/>
                      <a:pt x="21600" y="13500"/>
                      <a:pt x="18514" y="18900"/>
                    </a:cubicBezTo>
                    <a:cubicBezTo>
                      <a:pt x="15429" y="18900"/>
                      <a:pt x="0" y="21600"/>
                      <a:pt x="0" y="18900"/>
                    </a:cubicBezTo>
                    <a:cubicBezTo>
                      <a:pt x="0" y="10800"/>
                      <a:pt x="6171" y="8100"/>
                      <a:pt x="12343" y="8100"/>
                    </a:cubicBezTo>
                    <a:cubicBezTo>
                      <a:pt x="12343" y="0"/>
                      <a:pt x="12343" y="0"/>
                      <a:pt x="12343" y="0"/>
                    </a:cubicBezTo>
                    <a:cubicBezTo>
                      <a:pt x="15429" y="0"/>
                      <a:pt x="15429" y="0"/>
                      <a:pt x="15429" y="0"/>
                    </a:cubicBezTo>
                    <a:lnTo>
                      <a:pt x="18514" y="0"/>
                    </a:ln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43" name="ïSľîdé"/>
              <p:cNvSpPr/>
              <p:nvPr/>
            </p:nvSpPr>
            <p:spPr>
              <a:xfrm>
                <a:off x="2647246" y="2710580"/>
                <a:ext cx="50532" cy="2408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673" y="6480"/>
                    </a:moveTo>
                    <a:cubicBezTo>
                      <a:pt x="20618" y="8640"/>
                      <a:pt x="21600" y="10800"/>
                      <a:pt x="21600" y="15120"/>
                    </a:cubicBezTo>
                    <a:cubicBezTo>
                      <a:pt x="16691" y="17280"/>
                      <a:pt x="12764" y="21600"/>
                      <a:pt x="6873" y="21600"/>
                    </a:cubicBezTo>
                    <a:cubicBezTo>
                      <a:pt x="3927" y="21600"/>
                      <a:pt x="0" y="15120"/>
                      <a:pt x="0" y="6480"/>
                    </a:cubicBezTo>
                    <a:cubicBezTo>
                      <a:pt x="0" y="2160"/>
                      <a:pt x="2945" y="0"/>
                      <a:pt x="4909" y="0"/>
                    </a:cubicBezTo>
                    <a:cubicBezTo>
                      <a:pt x="9818" y="0"/>
                      <a:pt x="15709" y="6480"/>
                      <a:pt x="18655" y="8640"/>
                    </a:cubicBezTo>
                    <a:lnTo>
                      <a:pt x="17673" y="6480"/>
                    </a:ln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44" name="íşlîḍè"/>
              <p:cNvSpPr/>
              <p:nvPr/>
            </p:nvSpPr>
            <p:spPr>
              <a:xfrm>
                <a:off x="2972889" y="2710580"/>
                <a:ext cx="42110" cy="1605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12343"/>
                    </a:moveTo>
                    <a:cubicBezTo>
                      <a:pt x="20400" y="21600"/>
                      <a:pt x="16800" y="21600"/>
                      <a:pt x="13200" y="21600"/>
                    </a:cubicBezTo>
                    <a:cubicBezTo>
                      <a:pt x="7200" y="21600"/>
                      <a:pt x="0" y="21600"/>
                      <a:pt x="0" y="6171"/>
                    </a:cubicBezTo>
                    <a:cubicBezTo>
                      <a:pt x="0" y="0"/>
                      <a:pt x="4800" y="0"/>
                      <a:pt x="6000" y="0"/>
                    </a:cubicBezTo>
                    <a:cubicBezTo>
                      <a:pt x="7200" y="0"/>
                      <a:pt x="20400" y="6171"/>
                      <a:pt x="21600" y="12343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45" name="í$1ïḍè"/>
              <p:cNvSpPr/>
              <p:nvPr/>
            </p:nvSpPr>
            <p:spPr>
              <a:xfrm>
                <a:off x="2759537" y="2667767"/>
                <a:ext cx="176859" cy="6689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8432" y="7920"/>
                    </a:moveTo>
                    <a:cubicBezTo>
                      <a:pt x="19584" y="10800"/>
                      <a:pt x="20736" y="11520"/>
                      <a:pt x="21600" y="15120"/>
                    </a:cubicBezTo>
                    <a:cubicBezTo>
                      <a:pt x="16992" y="15120"/>
                      <a:pt x="16992" y="15120"/>
                      <a:pt x="16992" y="15120"/>
                    </a:cubicBezTo>
                    <a:cubicBezTo>
                      <a:pt x="16128" y="16560"/>
                      <a:pt x="15552" y="17280"/>
                      <a:pt x="14688" y="17280"/>
                    </a:cubicBezTo>
                    <a:cubicBezTo>
                      <a:pt x="14112" y="17280"/>
                      <a:pt x="14112" y="15840"/>
                      <a:pt x="13536" y="15840"/>
                    </a:cubicBezTo>
                    <a:cubicBezTo>
                      <a:pt x="11808" y="15840"/>
                      <a:pt x="11808" y="21600"/>
                      <a:pt x="10656" y="21600"/>
                    </a:cubicBezTo>
                    <a:cubicBezTo>
                      <a:pt x="9504" y="21600"/>
                      <a:pt x="9792" y="18720"/>
                      <a:pt x="8928" y="17280"/>
                    </a:cubicBezTo>
                    <a:cubicBezTo>
                      <a:pt x="7776" y="15840"/>
                      <a:pt x="4896" y="16560"/>
                      <a:pt x="3168" y="16560"/>
                    </a:cubicBezTo>
                    <a:cubicBezTo>
                      <a:pt x="2304" y="16560"/>
                      <a:pt x="2304" y="17280"/>
                      <a:pt x="1728" y="16560"/>
                    </a:cubicBezTo>
                    <a:cubicBezTo>
                      <a:pt x="1728" y="17280"/>
                      <a:pt x="1728" y="18000"/>
                      <a:pt x="1728" y="19440"/>
                    </a:cubicBezTo>
                    <a:cubicBezTo>
                      <a:pt x="864" y="18720"/>
                      <a:pt x="0" y="15840"/>
                      <a:pt x="0" y="13680"/>
                    </a:cubicBezTo>
                    <a:cubicBezTo>
                      <a:pt x="288" y="13680"/>
                      <a:pt x="576" y="12960"/>
                      <a:pt x="864" y="12960"/>
                    </a:cubicBezTo>
                    <a:cubicBezTo>
                      <a:pt x="3744" y="12960"/>
                      <a:pt x="4896" y="14400"/>
                      <a:pt x="6336" y="12240"/>
                    </a:cubicBezTo>
                    <a:cubicBezTo>
                      <a:pt x="5760" y="10800"/>
                      <a:pt x="5472" y="8640"/>
                      <a:pt x="5472" y="5760"/>
                    </a:cubicBezTo>
                    <a:cubicBezTo>
                      <a:pt x="4896" y="5760"/>
                      <a:pt x="4032" y="4320"/>
                      <a:pt x="4032" y="2160"/>
                    </a:cubicBezTo>
                    <a:cubicBezTo>
                      <a:pt x="4032" y="1440"/>
                      <a:pt x="4608" y="0"/>
                      <a:pt x="4896" y="0"/>
                    </a:cubicBezTo>
                    <a:cubicBezTo>
                      <a:pt x="6048" y="0"/>
                      <a:pt x="6912" y="2160"/>
                      <a:pt x="8064" y="2160"/>
                    </a:cubicBezTo>
                    <a:cubicBezTo>
                      <a:pt x="9792" y="2160"/>
                      <a:pt x="10368" y="720"/>
                      <a:pt x="11808" y="720"/>
                    </a:cubicBezTo>
                    <a:cubicBezTo>
                      <a:pt x="15840" y="720"/>
                      <a:pt x="16704" y="6480"/>
                      <a:pt x="19008" y="9360"/>
                    </a:cubicBezTo>
                    <a:lnTo>
                      <a:pt x="18432" y="7920"/>
                    </a:ln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46" name="îS1íḋê"/>
              <p:cNvSpPr/>
              <p:nvPr/>
            </p:nvSpPr>
            <p:spPr>
              <a:xfrm>
                <a:off x="2636017" y="2520599"/>
                <a:ext cx="16845" cy="1873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171" y="0"/>
                    </a:moveTo>
                    <a:cubicBezTo>
                      <a:pt x="18514" y="0"/>
                      <a:pt x="21600" y="8100"/>
                      <a:pt x="21600" y="16200"/>
                    </a:cubicBezTo>
                    <a:cubicBezTo>
                      <a:pt x="21600" y="18900"/>
                      <a:pt x="18514" y="21600"/>
                      <a:pt x="15429" y="21600"/>
                    </a:cubicBezTo>
                    <a:cubicBezTo>
                      <a:pt x="0" y="21600"/>
                      <a:pt x="0" y="8100"/>
                      <a:pt x="0" y="0"/>
                    </a:cubicBezTo>
                    <a:cubicBezTo>
                      <a:pt x="0" y="0"/>
                      <a:pt x="6171" y="0"/>
                      <a:pt x="6171" y="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47" name="iṩḻíḓe"/>
              <p:cNvSpPr/>
              <p:nvPr/>
            </p:nvSpPr>
            <p:spPr>
              <a:xfrm>
                <a:off x="2621982" y="2461015"/>
                <a:ext cx="25267" cy="1369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18600" extrusionOk="0">
                    <a:moveTo>
                      <a:pt x="0" y="16200"/>
                    </a:moveTo>
                    <a:cubicBezTo>
                      <a:pt x="1964" y="10800"/>
                      <a:pt x="7855" y="0"/>
                      <a:pt x="11782" y="0"/>
                    </a:cubicBezTo>
                    <a:cubicBezTo>
                      <a:pt x="17673" y="0"/>
                      <a:pt x="19636" y="10800"/>
                      <a:pt x="21600" y="16200"/>
                    </a:cubicBezTo>
                    <a:cubicBezTo>
                      <a:pt x="13745" y="21600"/>
                      <a:pt x="3927" y="16200"/>
                      <a:pt x="0" y="1620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48" name="ïsľiďé"/>
              <p:cNvSpPr/>
              <p:nvPr/>
            </p:nvSpPr>
            <p:spPr>
              <a:xfrm>
                <a:off x="2665283" y="2473613"/>
                <a:ext cx="13696" cy="1369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6362" h="21600" extrusionOk="0">
                    <a:moveTo>
                      <a:pt x="16362" y="21600"/>
                    </a:moveTo>
                    <a:cubicBezTo>
                      <a:pt x="9162" y="21600"/>
                      <a:pt x="-5238" y="5400"/>
                      <a:pt x="1962" y="0"/>
                    </a:cubicBezTo>
                    <a:lnTo>
                      <a:pt x="16362" y="21600"/>
                    </a:ln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49" name="işľiďe"/>
              <p:cNvSpPr/>
              <p:nvPr/>
            </p:nvSpPr>
            <p:spPr>
              <a:xfrm>
                <a:off x="2773574" y="2624796"/>
                <a:ext cx="19653" cy="1369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12343"/>
                    </a:moveTo>
                    <a:cubicBezTo>
                      <a:pt x="0" y="15429"/>
                      <a:pt x="0" y="18514"/>
                      <a:pt x="0" y="21600"/>
                    </a:cubicBezTo>
                    <a:cubicBezTo>
                      <a:pt x="0" y="21600"/>
                      <a:pt x="2400" y="21600"/>
                      <a:pt x="4800" y="21600"/>
                    </a:cubicBezTo>
                    <a:cubicBezTo>
                      <a:pt x="9600" y="21600"/>
                      <a:pt x="16800" y="18514"/>
                      <a:pt x="21600" y="12343"/>
                    </a:cubicBezTo>
                    <a:cubicBezTo>
                      <a:pt x="21600" y="0"/>
                      <a:pt x="21600" y="0"/>
                      <a:pt x="21600" y="0"/>
                    </a:cubicBezTo>
                    <a:cubicBezTo>
                      <a:pt x="16800" y="9257"/>
                      <a:pt x="9600" y="15429"/>
                      <a:pt x="0" y="12343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50" name="íşḷîḍê"/>
              <p:cNvSpPr/>
              <p:nvPr/>
            </p:nvSpPr>
            <p:spPr>
              <a:xfrm>
                <a:off x="1266074" y="1717859"/>
                <a:ext cx="1709624" cy="79738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554" y="14137"/>
                    </a:moveTo>
                    <a:cubicBezTo>
                      <a:pt x="16929" y="14865"/>
                      <a:pt x="16155" y="15351"/>
                      <a:pt x="16155" y="17292"/>
                    </a:cubicBezTo>
                    <a:cubicBezTo>
                      <a:pt x="16155" y="18202"/>
                      <a:pt x="16512" y="18445"/>
                      <a:pt x="16512" y="19294"/>
                    </a:cubicBezTo>
                    <a:cubicBezTo>
                      <a:pt x="16512" y="19234"/>
                      <a:pt x="16512" y="19234"/>
                      <a:pt x="16512" y="19234"/>
                    </a:cubicBezTo>
                    <a:cubicBezTo>
                      <a:pt x="16512" y="19416"/>
                      <a:pt x="16512" y="19416"/>
                      <a:pt x="16512" y="19416"/>
                    </a:cubicBezTo>
                    <a:cubicBezTo>
                      <a:pt x="16542" y="19780"/>
                      <a:pt x="16661" y="20022"/>
                      <a:pt x="16661" y="20508"/>
                    </a:cubicBezTo>
                    <a:cubicBezTo>
                      <a:pt x="16661" y="21054"/>
                      <a:pt x="16602" y="21600"/>
                      <a:pt x="16393" y="21600"/>
                    </a:cubicBezTo>
                    <a:cubicBezTo>
                      <a:pt x="16185" y="21600"/>
                      <a:pt x="16185" y="21175"/>
                      <a:pt x="16126" y="20933"/>
                    </a:cubicBezTo>
                    <a:cubicBezTo>
                      <a:pt x="15977" y="20508"/>
                      <a:pt x="15828" y="20326"/>
                      <a:pt x="15739" y="19901"/>
                    </a:cubicBezTo>
                    <a:cubicBezTo>
                      <a:pt x="15531" y="19052"/>
                      <a:pt x="15679" y="17413"/>
                      <a:pt x="15084" y="17413"/>
                    </a:cubicBezTo>
                    <a:cubicBezTo>
                      <a:pt x="14965" y="17413"/>
                      <a:pt x="14936" y="17778"/>
                      <a:pt x="14817" y="17778"/>
                    </a:cubicBezTo>
                    <a:cubicBezTo>
                      <a:pt x="14579" y="17778"/>
                      <a:pt x="14430" y="17171"/>
                      <a:pt x="14102" y="17171"/>
                    </a:cubicBezTo>
                    <a:cubicBezTo>
                      <a:pt x="13924" y="17171"/>
                      <a:pt x="13894" y="17353"/>
                      <a:pt x="13775" y="17353"/>
                    </a:cubicBezTo>
                    <a:cubicBezTo>
                      <a:pt x="13745" y="17353"/>
                      <a:pt x="13686" y="17231"/>
                      <a:pt x="13686" y="17171"/>
                    </a:cubicBezTo>
                    <a:cubicBezTo>
                      <a:pt x="13478" y="17292"/>
                      <a:pt x="13210" y="17231"/>
                      <a:pt x="12972" y="17353"/>
                    </a:cubicBezTo>
                    <a:cubicBezTo>
                      <a:pt x="13121" y="17474"/>
                      <a:pt x="13091" y="17474"/>
                      <a:pt x="13180" y="17353"/>
                    </a:cubicBezTo>
                    <a:cubicBezTo>
                      <a:pt x="13150" y="17778"/>
                      <a:pt x="13031" y="18020"/>
                      <a:pt x="13180" y="18263"/>
                    </a:cubicBezTo>
                    <a:cubicBezTo>
                      <a:pt x="12823" y="18627"/>
                      <a:pt x="12526" y="17717"/>
                      <a:pt x="12258" y="17717"/>
                    </a:cubicBezTo>
                    <a:cubicBezTo>
                      <a:pt x="12169" y="17717"/>
                      <a:pt x="12139" y="17899"/>
                      <a:pt x="12050" y="17899"/>
                    </a:cubicBezTo>
                    <a:cubicBezTo>
                      <a:pt x="11901" y="17899"/>
                      <a:pt x="11841" y="17656"/>
                      <a:pt x="11693" y="17656"/>
                    </a:cubicBezTo>
                    <a:cubicBezTo>
                      <a:pt x="11306" y="17656"/>
                      <a:pt x="11127" y="18324"/>
                      <a:pt x="10949" y="18627"/>
                    </a:cubicBezTo>
                    <a:cubicBezTo>
                      <a:pt x="10860" y="18870"/>
                      <a:pt x="10740" y="18688"/>
                      <a:pt x="10621" y="18748"/>
                    </a:cubicBezTo>
                    <a:cubicBezTo>
                      <a:pt x="10324" y="18991"/>
                      <a:pt x="10145" y="19719"/>
                      <a:pt x="10145" y="20508"/>
                    </a:cubicBezTo>
                    <a:cubicBezTo>
                      <a:pt x="10145" y="20569"/>
                      <a:pt x="10205" y="20690"/>
                      <a:pt x="10205" y="20751"/>
                    </a:cubicBezTo>
                    <a:cubicBezTo>
                      <a:pt x="9997" y="20751"/>
                      <a:pt x="9669" y="20569"/>
                      <a:pt x="9550" y="20387"/>
                    </a:cubicBezTo>
                    <a:cubicBezTo>
                      <a:pt x="9134" y="19537"/>
                      <a:pt x="9164" y="17596"/>
                      <a:pt x="8390" y="17596"/>
                    </a:cubicBezTo>
                    <a:cubicBezTo>
                      <a:pt x="8093" y="17596"/>
                      <a:pt x="8182" y="18324"/>
                      <a:pt x="7914" y="18324"/>
                    </a:cubicBezTo>
                    <a:cubicBezTo>
                      <a:pt x="7646" y="18324"/>
                      <a:pt x="7438" y="17413"/>
                      <a:pt x="7319" y="17049"/>
                    </a:cubicBezTo>
                    <a:cubicBezTo>
                      <a:pt x="7111" y="16261"/>
                      <a:pt x="6843" y="16139"/>
                      <a:pt x="6397" y="15897"/>
                    </a:cubicBezTo>
                    <a:cubicBezTo>
                      <a:pt x="6159" y="15897"/>
                      <a:pt x="6159" y="15897"/>
                      <a:pt x="6159" y="15897"/>
                    </a:cubicBezTo>
                    <a:cubicBezTo>
                      <a:pt x="6159" y="16261"/>
                      <a:pt x="6159" y="16261"/>
                      <a:pt x="6159" y="16261"/>
                    </a:cubicBezTo>
                    <a:cubicBezTo>
                      <a:pt x="5058" y="16261"/>
                      <a:pt x="5058" y="16261"/>
                      <a:pt x="5058" y="16261"/>
                    </a:cubicBezTo>
                    <a:cubicBezTo>
                      <a:pt x="3660" y="15290"/>
                      <a:pt x="3660" y="15290"/>
                      <a:pt x="3660" y="15290"/>
                    </a:cubicBezTo>
                    <a:cubicBezTo>
                      <a:pt x="2826" y="15290"/>
                      <a:pt x="2826" y="15290"/>
                      <a:pt x="2826" y="15290"/>
                    </a:cubicBezTo>
                    <a:cubicBezTo>
                      <a:pt x="2618" y="14501"/>
                      <a:pt x="1964" y="13955"/>
                      <a:pt x="1488" y="13530"/>
                    </a:cubicBezTo>
                    <a:cubicBezTo>
                      <a:pt x="1398" y="13470"/>
                      <a:pt x="1428" y="13166"/>
                      <a:pt x="1398" y="12984"/>
                    </a:cubicBezTo>
                    <a:cubicBezTo>
                      <a:pt x="1190" y="12013"/>
                      <a:pt x="833" y="11710"/>
                      <a:pt x="893" y="10618"/>
                    </a:cubicBezTo>
                    <a:cubicBezTo>
                      <a:pt x="625" y="10557"/>
                      <a:pt x="327" y="9344"/>
                      <a:pt x="119" y="8555"/>
                    </a:cubicBezTo>
                    <a:cubicBezTo>
                      <a:pt x="60" y="8312"/>
                      <a:pt x="179" y="8130"/>
                      <a:pt x="238" y="8070"/>
                    </a:cubicBezTo>
                    <a:cubicBezTo>
                      <a:pt x="89" y="7463"/>
                      <a:pt x="238" y="6492"/>
                      <a:pt x="119" y="5764"/>
                    </a:cubicBezTo>
                    <a:cubicBezTo>
                      <a:pt x="0" y="5157"/>
                      <a:pt x="327" y="3640"/>
                      <a:pt x="327" y="2791"/>
                    </a:cubicBezTo>
                    <a:cubicBezTo>
                      <a:pt x="327" y="2184"/>
                      <a:pt x="0" y="1942"/>
                      <a:pt x="0" y="1396"/>
                    </a:cubicBezTo>
                    <a:cubicBezTo>
                      <a:pt x="0" y="1213"/>
                      <a:pt x="149" y="1213"/>
                      <a:pt x="208" y="1213"/>
                    </a:cubicBezTo>
                    <a:cubicBezTo>
                      <a:pt x="387" y="1213"/>
                      <a:pt x="506" y="1396"/>
                      <a:pt x="595" y="1638"/>
                    </a:cubicBezTo>
                    <a:cubicBezTo>
                      <a:pt x="655" y="1456"/>
                      <a:pt x="774" y="1153"/>
                      <a:pt x="774" y="910"/>
                    </a:cubicBezTo>
                    <a:cubicBezTo>
                      <a:pt x="774" y="667"/>
                      <a:pt x="655" y="607"/>
                      <a:pt x="595" y="303"/>
                    </a:cubicBezTo>
                    <a:cubicBezTo>
                      <a:pt x="11098" y="303"/>
                      <a:pt x="11098" y="303"/>
                      <a:pt x="11098" y="303"/>
                    </a:cubicBezTo>
                    <a:cubicBezTo>
                      <a:pt x="11098" y="0"/>
                      <a:pt x="11098" y="0"/>
                      <a:pt x="11098" y="0"/>
                    </a:cubicBezTo>
                    <a:cubicBezTo>
                      <a:pt x="11276" y="243"/>
                      <a:pt x="11246" y="485"/>
                      <a:pt x="11425" y="667"/>
                    </a:cubicBezTo>
                    <a:cubicBezTo>
                      <a:pt x="12079" y="667"/>
                      <a:pt x="12079" y="667"/>
                      <a:pt x="12079" y="667"/>
                    </a:cubicBezTo>
                    <a:cubicBezTo>
                      <a:pt x="12347" y="1213"/>
                      <a:pt x="12674" y="1213"/>
                      <a:pt x="13180" y="1213"/>
                    </a:cubicBezTo>
                    <a:cubicBezTo>
                      <a:pt x="12823" y="1699"/>
                      <a:pt x="12436" y="1942"/>
                      <a:pt x="12139" y="2730"/>
                    </a:cubicBezTo>
                    <a:cubicBezTo>
                      <a:pt x="12347" y="2730"/>
                      <a:pt x="12347" y="2730"/>
                      <a:pt x="12347" y="2730"/>
                    </a:cubicBezTo>
                    <a:cubicBezTo>
                      <a:pt x="12436" y="2609"/>
                      <a:pt x="12496" y="2548"/>
                      <a:pt x="12585" y="2548"/>
                    </a:cubicBezTo>
                    <a:cubicBezTo>
                      <a:pt x="12645" y="2791"/>
                      <a:pt x="12674" y="2791"/>
                      <a:pt x="12764" y="2791"/>
                    </a:cubicBezTo>
                    <a:cubicBezTo>
                      <a:pt x="13002" y="2791"/>
                      <a:pt x="13002" y="2427"/>
                      <a:pt x="13121" y="2427"/>
                    </a:cubicBezTo>
                    <a:cubicBezTo>
                      <a:pt x="13269" y="2427"/>
                      <a:pt x="13507" y="1942"/>
                      <a:pt x="13716" y="1881"/>
                    </a:cubicBezTo>
                    <a:cubicBezTo>
                      <a:pt x="13716" y="2245"/>
                      <a:pt x="13626" y="2306"/>
                      <a:pt x="13567" y="2548"/>
                    </a:cubicBezTo>
                    <a:cubicBezTo>
                      <a:pt x="13835" y="2548"/>
                      <a:pt x="13835" y="2548"/>
                      <a:pt x="13835" y="2548"/>
                    </a:cubicBezTo>
                    <a:cubicBezTo>
                      <a:pt x="13835" y="2730"/>
                      <a:pt x="13954" y="2852"/>
                      <a:pt x="14043" y="2852"/>
                    </a:cubicBezTo>
                    <a:cubicBezTo>
                      <a:pt x="14221" y="2852"/>
                      <a:pt x="14281" y="2609"/>
                      <a:pt x="14400" y="2609"/>
                    </a:cubicBezTo>
                    <a:cubicBezTo>
                      <a:pt x="14727" y="2609"/>
                      <a:pt x="14876" y="2912"/>
                      <a:pt x="15174" y="2912"/>
                    </a:cubicBezTo>
                    <a:cubicBezTo>
                      <a:pt x="15174" y="3276"/>
                      <a:pt x="15174" y="3276"/>
                      <a:pt x="15174" y="3276"/>
                    </a:cubicBezTo>
                    <a:cubicBezTo>
                      <a:pt x="14965" y="3398"/>
                      <a:pt x="14668" y="3276"/>
                      <a:pt x="14579" y="3276"/>
                    </a:cubicBezTo>
                    <a:cubicBezTo>
                      <a:pt x="14281" y="3276"/>
                      <a:pt x="13745" y="4004"/>
                      <a:pt x="13745" y="4551"/>
                    </a:cubicBezTo>
                    <a:cubicBezTo>
                      <a:pt x="13864" y="4369"/>
                      <a:pt x="13924" y="4187"/>
                      <a:pt x="14043" y="4187"/>
                    </a:cubicBezTo>
                    <a:cubicBezTo>
                      <a:pt x="13835" y="4733"/>
                      <a:pt x="13716" y="6128"/>
                      <a:pt x="13716" y="6796"/>
                    </a:cubicBezTo>
                    <a:cubicBezTo>
                      <a:pt x="13716" y="7099"/>
                      <a:pt x="13864" y="7342"/>
                      <a:pt x="14013" y="7342"/>
                    </a:cubicBezTo>
                    <a:cubicBezTo>
                      <a:pt x="14221" y="7342"/>
                      <a:pt x="14281" y="6553"/>
                      <a:pt x="14281" y="6189"/>
                    </a:cubicBezTo>
                    <a:cubicBezTo>
                      <a:pt x="14281" y="5885"/>
                      <a:pt x="14281" y="5339"/>
                      <a:pt x="14281" y="5339"/>
                    </a:cubicBezTo>
                    <a:cubicBezTo>
                      <a:pt x="14281" y="4975"/>
                      <a:pt x="14281" y="4187"/>
                      <a:pt x="14430" y="4187"/>
                    </a:cubicBezTo>
                    <a:cubicBezTo>
                      <a:pt x="14906" y="4126"/>
                      <a:pt x="14698" y="3458"/>
                      <a:pt x="14906" y="3458"/>
                    </a:cubicBezTo>
                    <a:cubicBezTo>
                      <a:pt x="14995" y="3458"/>
                      <a:pt x="15501" y="3944"/>
                      <a:pt x="15501" y="4247"/>
                    </a:cubicBezTo>
                    <a:cubicBezTo>
                      <a:pt x="15501" y="4672"/>
                      <a:pt x="15382" y="4915"/>
                      <a:pt x="15352" y="5279"/>
                    </a:cubicBezTo>
                    <a:cubicBezTo>
                      <a:pt x="15501" y="5279"/>
                      <a:pt x="15471" y="5157"/>
                      <a:pt x="15620" y="5097"/>
                    </a:cubicBezTo>
                    <a:cubicBezTo>
                      <a:pt x="15650" y="5521"/>
                      <a:pt x="15650" y="5703"/>
                      <a:pt x="15798" y="5885"/>
                    </a:cubicBezTo>
                    <a:cubicBezTo>
                      <a:pt x="15650" y="6249"/>
                      <a:pt x="15501" y="6431"/>
                      <a:pt x="15501" y="6796"/>
                    </a:cubicBezTo>
                    <a:cubicBezTo>
                      <a:pt x="15501" y="7099"/>
                      <a:pt x="15560" y="7463"/>
                      <a:pt x="15679" y="7463"/>
                    </a:cubicBezTo>
                    <a:cubicBezTo>
                      <a:pt x="16036" y="7463"/>
                      <a:pt x="16631" y="6796"/>
                      <a:pt x="16899" y="6553"/>
                    </a:cubicBezTo>
                    <a:cubicBezTo>
                      <a:pt x="16869" y="6249"/>
                      <a:pt x="16810" y="6007"/>
                      <a:pt x="16780" y="5885"/>
                    </a:cubicBezTo>
                    <a:cubicBezTo>
                      <a:pt x="16869" y="5885"/>
                      <a:pt x="16869" y="5885"/>
                      <a:pt x="16929" y="5885"/>
                    </a:cubicBezTo>
                    <a:cubicBezTo>
                      <a:pt x="17316" y="5885"/>
                      <a:pt x="18149" y="6128"/>
                      <a:pt x="18149" y="5097"/>
                    </a:cubicBezTo>
                    <a:cubicBezTo>
                      <a:pt x="18179" y="5097"/>
                      <a:pt x="18655" y="4126"/>
                      <a:pt x="18744" y="4004"/>
                    </a:cubicBezTo>
                    <a:cubicBezTo>
                      <a:pt x="18803" y="3883"/>
                      <a:pt x="19131" y="3944"/>
                      <a:pt x="19428" y="3944"/>
                    </a:cubicBezTo>
                    <a:cubicBezTo>
                      <a:pt x="19547" y="3944"/>
                      <a:pt x="19636" y="3944"/>
                      <a:pt x="19755" y="3944"/>
                    </a:cubicBezTo>
                    <a:cubicBezTo>
                      <a:pt x="19874" y="3944"/>
                      <a:pt x="19993" y="3822"/>
                      <a:pt x="20083" y="3822"/>
                    </a:cubicBezTo>
                    <a:cubicBezTo>
                      <a:pt x="20231" y="3762"/>
                      <a:pt x="20172" y="3701"/>
                      <a:pt x="20231" y="3580"/>
                    </a:cubicBezTo>
                    <a:cubicBezTo>
                      <a:pt x="20469" y="3094"/>
                      <a:pt x="20469" y="2184"/>
                      <a:pt x="20797" y="1699"/>
                    </a:cubicBezTo>
                    <a:cubicBezTo>
                      <a:pt x="20945" y="2124"/>
                      <a:pt x="21183" y="1517"/>
                      <a:pt x="21302" y="1942"/>
                    </a:cubicBezTo>
                    <a:cubicBezTo>
                      <a:pt x="21511" y="2670"/>
                      <a:pt x="21332" y="3762"/>
                      <a:pt x="21600" y="4429"/>
                    </a:cubicBezTo>
                    <a:cubicBezTo>
                      <a:pt x="21511" y="4672"/>
                      <a:pt x="21362" y="4854"/>
                      <a:pt x="21183" y="4854"/>
                    </a:cubicBezTo>
                    <a:cubicBezTo>
                      <a:pt x="21005" y="4854"/>
                      <a:pt x="21005" y="4733"/>
                      <a:pt x="20856" y="4854"/>
                    </a:cubicBezTo>
                    <a:cubicBezTo>
                      <a:pt x="20648" y="5279"/>
                      <a:pt x="20202" y="5582"/>
                      <a:pt x="20202" y="6613"/>
                    </a:cubicBezTo>
                    <a:cubicBezTo>
                      <a:pt x="20202" y="6674"/>
                      <a:pt x="20231" y="6796"/>
                      <a:pt x="20261" y="6856"/>
                    </a:cubicBezTo>
                    <a:cubicBezTo>
                      <a:pt x="20261" y="6978"/>
                      <a:pt x="20321" y="7342"/>
                      <a:pt x="20410" y="7342"/>
                    </a:cubicBezTo>
                    <a:cubicBezTo>
                      <a:pt x="20440" y="7342"/>
                      <a:pt x="20529" y="7160"/>
                      <a:pt x="20529" y="7160"/>
                    </a:cubicBezTo>
                    <a:cubicBezTo>
                      <a:pt x="20529" y="7342"/>
                      <a:pt x="20529" y="7342"/>
                      <a:pt x="20529" y="7342"/>
                    </a:cubicBezTo>
                    <a:cubicBezTo>
                      <a:pt x="20380" y="7402"/>
                      <a:pt x="20172" y="7524"/>
                      <a:pt x="20112" y="7402"/>
                    </a:cubicBezTo>
                    <a:cubicBezTo>
                      <a:pt x="19845" y="7827"/>
                      <a:pt x="19398" y="7645"/>
                      <a:pt x="19131" y="8009"/>
                    </a:cubicBezTo>
                    <a:cubicBezTo>
                      <a:pt x="19279" y="8009"/>
                      <a:pt x="19279" y="8009"/>
                      <a:pt x="19279" y="8009"/>
                    </a:cubicBezTo>
                    <a:cubicBezTo>
                      <a:pt x="19398" y="8009"/>
                      <a:pt x="19517" y="7827"/>
                      <a:pt x="19607" y="8009"/>
                    </a:cubicBezTo>
                    <a:cubicBezTo>
                      <a:pt x="19428" y="8130"/>
                      <a:pt x="19279" y="8130"/>
                      <a:pt x="19101" y="8130"/>
                    </a:cubicBezTo>
                    <a:cubicBezTo>
                      <a:pt x="19071" y="8130"/>
                      <a:pt x="19012" y="8070"/>
                      <a:pt x="18982" y="8070"/>
                    </a:cubicBezTo>
                    <a:cubicBezTo>
                      <a:pt x="18952" y="8130"/>
                      <a:pt x="18893" y="8191"/>
                      <a:pt x="18893" y="8312"/>
                    </a:cubicBezTo>
                    <a:cubicBezTo>
                      <a:pt x="18893" y="8434"/>
                      <a:pt x="19012" y="8616"/>
                      <a:pt x="19012" y="8616"/>
                    </a:cubicBezTo>
                    <a:cubicBezTo>
                      <a:pt x="18982" y="8798"/>
                      <a:pt x="18744" y="9769"/>
                      <a:pt x="18655" y="9769"/>
                    </a:cubicBezTo>
                    <a:cubicBezTo>
                      <a:pt x="18625" y="9769"/>
                      <a:pt x="18595" y="9587"/>
                      <a:pt x="18565" y="9526"/>
                    </a:cubicBezTo>
                    <a:cubicBezTo>
                      <a:pt x="18506" y="9647"/>
                      <a:pt x="18506" y="9647"/>
                      <a:pt x="18506" y="9647"/>
                    </a:cubicBezTo>
                    <a:cubicBezTo>
                      <a:pt x="18536" y="9890"/>
                      <a:pt x="18625" y="9951"/>
                      <a:pt x="18625" y="10193"/>
                    </a:cubicBezTo>
                    <a:cubicBezTo>
                      <a:pt x="18625" y="10315"/>
                      <a:pt x="18357" y="11285"/>
                      <a:pt x="18298" y="11285"/>
                    </a:cubicBezTo>
                    <a:cubicBezTo>
                      <a:pt x="18298" y="11285"/>
                      <a:pt x="18268" y="11164"/>
                      <a:pt x="18268" y="11103"/>
                    </a:cubicBezTo>
                    <a:cubicBezTo>
                      <a:pt x="18268" y="10982"/>
                      <a:pt x="18268" y="10921"/>
                      <a:pt x="18268" y="10800"/>
                    </a:cubicBezTo>
                    <a:cubicBezTo>
                      <a:pt x="18268" y="10618"/>
                      <a:pt x="18149" y="10193"/>
                      <a:pt x="18119" y="9951"/>
                    </a:cubicBezTo>
                    <a:cubicBezTo>
                      <a:pt x="18089" y="10072"/>
                      <a:pt x="18089" y="10315"/>
                      <a:pt x="18089" y="10315"/>
                    </a:cubicBezTo>
                    <a:cubicBezTo>
                      <a:pt x="18089" y="10497"/>
                      <a:pt x="18179" y="10982"/>
                      <a:pt x="18179" y="11225"/>
                    </a:cubicBezTo>
                    <a:cubicBezTo>
                      <a:pt x="18179" y="11467"/>
                      <a:pt x="18089" y="11467"/>
                      <a:pt x="18179" y="11649"/>
                    </a:cubicBezTo>
                    <a:cubicBezTo>
                      <a:pt x="18208" y="11649"/>
                      <a:pt x="18238" y="11649"/>
                      <a:pt x="18268" y="11649"/>
                    </a:cubicBezTo>
                    <a:cubicBezTo>
                      <a:pt x="18268" y="11710"/>
                      <a:pt x="18268" y="11831"/>
                      <a:pt x="18268" y="11892"/>
                    </a:cubicBezTo>
                    <a:cubicBezTo>
                      <a:pt x="18268" y="12135"/>
                      <a:pt x="18149" y="12196"/>
                      <a:pt x="18089" y="12196"/>
                    </a:cubicBezTo>
                    <a:cubicBezTo>
                      <a:pt x="18149" y="12438"/>
                      <a:pt x="18208" y="12438"/>
                      <a:pt x="18268" y="12438"/>
                    </a:cubicBezTo>
                    <a:cubicBezTo>
                      <a:pt x="18238" y="12742"/>
                      <a:pt x="18179" y="12742"/>
                      <a:pt x="18060" y="12742"/>
                    </a:cubicBezTo>
                    <a:cubicBezTo>
                      <a:pt x="18060" y="12924"/>
                      <a:pt x="18060" y="12924"/>
                      <a:pt x="18060" y="12924"/>
                    </a:cubicBezTo>
                    <a:cubicBezTo>
                      <a:pt x="18208" y="13106"/>
                      <a:pt x="18208" y="13106"/>
                      <a:pt x="18208" y="13106"/>
                    </a:cubicBezTo>
                    <a:cubicBezTo>
                      <a:pt x="18179" y="13227"/>
                      <a:pt x="18149" y="13409"/>
                      <a:pt x="18060" y="13409"/>
                    </a:cubicBezTo>
                    <a:cubicBezTo>
                      <a:pt x="17911" y="13470"/>
                      <a:pt x="17851" y="13712"/>
                      <a:pt x="17732" y="13712"/>
                    </a:cubicBezTo>
                    <a:cubicBezTo>
                      <a:pt x="17583" y="13834"/>
                      <a:pt x="17583" y="13955"/>
                      <a:pt x="17524" y="14076"/>
                    </a:cubicBezTo>
                    <a:lnTo>
                      <a:pt x="17554" y="14137"/>
                    </a:ln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/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51" name="ïslîḍe"/>
              <p:cNvSpPr/>
              <p:nvPr/>
            </p:nvSpPr>
            <p:spPr>
              <a:xfrm>
                <a:off x="-1" y="770626"/>
                <a:ext cx="1103256" cy="75977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296" extrusionOk="0">
                    <a:moveTo>
                      <a:pt x="15383" y="2330"/>
                    </a:moveTo>
                    <a:cubicBezTo>
                      <a:pt x="15383" y="14358"/>
                      <a:pt x="15383" y="14358"/>
                      <a:pt x="15383" y="14358"/>
                    </a:cubicBezTo>
                    <a:cubicBezTo>
                      <a:pt x="15659" y="14673"/>
                      <a:pt x="16258" y="14232"/>
                      <a:pt x="16534" y="14736"/>
                    </a:cubicBezTo>
                    <a:cubicBezTo>
                      <a:pt x="16718" y="15114"/>
                      <a:pt x="17133" y="15869"/>
                      <a:pt x="17547" y="15869"/>
                    </a:cubicBezTo>
                    <a:cubicBezTo>
                      <a:pt x="17823" y="15869"/>
                      <a:pt x="17823" y="15303"/>
                      <a:pt x="18100" y="15177"/>
                    </a:cubicBezTo>
                    <a:cubicBezTo>
                      <a:pt x="18238" y="15114"/>
                      <a:pt x="18330" y="15177"/>
                      <a:pt x="18468" y="15051"/>
                    </a:cubicBezTo>
                    <a:cubicBezTo>
                      <a:pt x="19113" y="15869"/>
                      <a:pt x="19389" y="16184"/>
                      <a:pt x="19942" y="17255"/>
                    </a:cubicBezTo>
                    <a:cubicBezTo>
                      <a:pt x="19988" y="17381"/>
                      <a:pt x="20126" y="17444"/>
                      <a:pt x="20218" y="17696"/>
                    </a:cubicBezTo>
                    <a:cubicBezTo>
                      <a:pt x="20264" y="18010"/>
                      <a:pt x="20357" y="18388"/>
                      <a:pt x="20587" y="18703"/>
                    </a:cubicBezTo>
                    <a:cubicBezTo>
                      <a:pt x="20725" y="18892"/>
                      <a:pt x="20955" y="18829"/>
                      <a:pt x="21093" y="19018"/>
                    </a:cubicBezTo>
                    <a:cubicBezTo>
                      <a:pt x="21278" y="19270"/>
                      <a:pt x="21600" y="19396"/>
                      <a:pt x="21600" y="20026"/>
                    </a:cubicBezTo>
                    <a:cubicBezTo>
                      <a:pt x="21600" y="20278"/>
                      <a:pt x="21324" y="20341"/>
                      <a:pt x="21324" y="20529"/>
                    </a:cubicBezTo>
                    <a:cubicBezTo>
                      <a:pt x="21232" y="20529"/>
                      <a:pt x="21232" y="20592"/>
                      <a:pt x="21139" y="20592"/>
                    </a:cubicBezTo>
                    <a:cubicBezTo>
                      <a:pt x="20771" y="20592"/>
                      <a:pt x="20264" y="20026"/>
                      <a:pt x="20264" y="19774"/>
                    </a:cubicBezTo>
                    <a:cubicBezTo>
                      <a:pt x="20264" y="19522"/>
                      <a:pt x="20264" y="19585"/>
                      <a:pt x="20264" y="19333"/>
                    </a:cubicBezTo>
                    <a:cubicBezTo>
                      <a:pt x="20264" y="18892"/>
                      <a:pt x="20034" y="18892"/>
                      <a:pt x="19666" y="18892"/>
                    </a:cubicBezTo>
                    <a:cubicBezTo>
                      <a:pt x="19389" y="18892"/>
                      <a:pt x="19297" y="18640"/>
                      <a:pt x="19297" y="18514"/>
                    </a:cubicBezTo>
                    <a:cubicBezTo>
                      <a:pt x="19297" y="18262"/>
                      <a:pt x="19620" y="18262"/>
                      <a:pt x="19620" y="18010"/>
                    </a:cubicBezTo>
                    <a:cubicBezTo>
                      <a:pt x="19620" y="17822"/>
                      <a:pt x="19620" y="17696"/>
                      <a:pt x="19620" y="17696"/>
                    </a:cubicBezTo>
                    <a:cubicBezTo>
                      <a:pt x="19205" y="17696"/>
                      <a:pt x="19343" y="18010"/>
                      <a:pt x="19067" y="18010"/>
                    </a:cubicBezTo>
                    <a:cubicBezTo>
                      <a:pt x="18975" y="18010"/>
                      <a:pt x="18745" y="17759"/>
                      <a:pt x="18745" y="17633"/>
                    </a:cubicBezTo>
                    <a:cubicBezTo>
                      <a:pt x="18745" y="17255"/>
                      <a:pt x="18883" y="17192"/>
                      <a:pt x="18975" y="17003"/>
                    </a:cubicBezTo>
                    <a:cubicBezTo>
                      <a:pt x="18837" y="16877"/>
                      <a:pt x="18652" y="16625"/>
                      <a:pt x="18606" y="16814"/>
                    </a:cubicBezTo>
                    <a:cubicBezTo>
                      <a:pt x="18284" y="16814"/>
                      <a:pt x="18146" y="16625"/>
                      <a:pt x="17962" y="16436"/>
                    </a:cubicBezTo>
                    <a:cubicBezTo>
                      <a:pt x="17916" y="16625"/>
                      <a:pt x="17823" y="16940"/>
                      <a:pt x="17685" y="16940"/>
                    </a:cubicBezTo>
                    <a:cubicBezTo>
                      <a:pt x="17271" y="16940"/>
                      <a:pt x="16948" y="16121"/>
                      <a:pt x="16718" y="15869"/>
                    </a:cubicBezTo>
                    <a:cubicBezTo>
                      <a:pt x="16212" y="15303"/>
                      <a:pt x="15521" y="15366"/>
                      <a:pt x="14876" y="14862"/>
                    </a:cubicBezTo>
                    <a:cubicBezTo>
                      <a:pt x="13771" y="14862"/>
                      <a:pt x="13771" y="14862"/>
                      <a:pt x="13771" y="14862"/>
                    </a:cubicBezTo>
                    <a:cubicBezTo>
                      <a:pt x="13126" y="14610"/>
                      <a:pt x="12205" y="14484"/>
                      <a:pt x="11882" y="13476"/>
                    </a:cubicBezTo>
                    <a:cubicBezTo>
                      <a:pt x="11606" y="13665"/>
                      <a:pt x="11238" y="13791"/>
                      <a:pt x="11053" y="13917"/>
                    </a:cubicBezTo>
                    <a:cubicBezTo>
                      <a:pt x="11099" y="14106"/>
                      <a:pt x="11145" y="14169"/>
                      <a:pt x="11238" y="14295"/>
                    </a:cubicBezTo>
                    <a:cubicBezTo>
                      <a:pt x="10961" y="14862"/>
                      <a:pt x="9672" y="15869"/>
                      <a:pt x="9211" y="15869"/>
                    </a:cubicBezTo>
                    <a:cubicBezTo>
                      <a:pt x="9119" y="15869"/>
                      <a:pt x="8981" y="15806"/>
                      <a:pt x="8981" y="15680"/>
                    </a:cubicBezTo>
                    <a:cubicBezTo>
                      <a:pt x="8981" y="15492"/>
                      <a:pt x="9119" y="15492"/>
                      <a:pt x="9165" y="15429"/>
                    </a:cubicBezTo>
                    <a:cubicBezTo>
                      <a:pt x="9073" y="15240"/>
                      <a:pt x="9165" y="15240"/>
                      <a:pt x="9165" y="15114"/>
                    </a:cubicBezTo>
                    <a:cubicBezTo>
                      <a:pt x="9165" y="14484"/>
                      <a:pt x="9441" y="14043"/>
                      <a:pt x="10040" y="13791"/>
                    </a:cubicBezTo>
                    <a:cubicBezTo>
                      <a:pt x="10040" y="13665"/>
                      <a:pt x="10040" y="13602"/>
                      <a:pt x="10040" y="13476"/>
                    </a:cubicBezTo>
                    <a:cubicBezTo>
                      <a:pt x="9856" y="13476"/>
                      <a:pt x="9902" y="13476"/>
                      <a:pt x="9810" y="13476"/>
                    </a:cubicBezTo>
                    <a:cubicBezTo>
                      <a:pt x="9349" y="13476"/>
                      <a:pt x="7968" y="15051"/>
                      <a:pt x="7968" y="15932"/>
                    </a:cubicBezTo>
                    <a:cubicBezTo>
                      <a:pt x="7968" y="16058"/>
                      <a:pt x="7968" y="16247"/>
                      <a:pt x="7968" y="16373"/>
                    </a:cubicBezTo>
                    <a:cubicBezTo>
                      <a:pt x="7968" y="17003"/>
                      <a:pt x="7553" y="17192"/>
                      <a:pt x="7093" y="17444"/>
                    </a:cubicBezTo>
                    <a:cubicBezTo>
                      <a:pt x="6816" y="17633"/>
                      <a:pt x="6724" y="17885"/>
                      <a:pt x="6586" y="18136"/>
                    </a:cubicBezTo>
                    <a:cubicBezTo>
                      <a:pt x="6264" y="18703"/>
                      <a:pt x="5573" y="18955"/>
                      <a:pt x="5250" y="19396"/>
                    </a:cubicBezTo>
                    <a:cubicBezTo>
                      <a:pt x="4928" y="19837"/>
                      <a:pt x="4191" y="20152"/>
                      <a:pt x="3638" y="20278"/>
                    </a:cubicBezTo>
                    <a:cubicBezTo>
                      <a:pt x="2901" y="20403"/>
                      <a:pt x="2487" y="21600"/>
                      <a:pt x="1612" y="21222"/>
                    </a:cubicBezTo>
                    <a:cubicBezTo>
                      <a:pt x="1888" y="20718"/>
                      <a:pt x="2257" y="20970"/>
                      <a:pt x="2625" y="20655"/>
                    </a:cubicBezTo>
                    <a:cubicBezTo>
                      <a:pt x="2855" y="20466"/>
                      <a:pt x="3040" y="19900"/>
                      <a:pt x="3270" y="19774"/>
                    </a:cubicBezTo>
                    <a:cubicBezTo>
                      <a:pt x="3592" y="19459"/>
                      <a:pt x="4007" y="19774"/>
                      <a:pt x="4237" y="19333"/>
                    </a:cubicBezTo>
                    <a:cubicBezTo>
                      <a:pt x="4559" y="18703"/>
                      <a:pt x="5388" y="18262"/>
                      <a:pt x="5849" y="17822"/>
                    </a:cubicBezTo>
                    <a:cubicBezTo>
                      <a:pt x="6310" y="17381"/>
                      <a:pt x="6310" y="16562"/>
                      <a:pt x="6816" y="16121"/>
                    </a:cubicBezTo>
                    <a:cubicBezTo>
                      <a:pt x="6494" y="16121"/>
                      <a:pt x="6494" y="16121"/>
                      <a:pt x="6494" y="16121"/>
                    </a:cubicBezTo>
                    <a:cubicBezTo>
                      <a:pt x="6217" y="16310"/>
                      <a:pt x="6079" y="16499"/>
                      <a:pt x="5757" y="16499"/>
                    </a:cubicBezTo>
                    <a:cubicBezTo>
                      <a:pt x="5527" y="16499"/>
                      <a:pt x="5388" y="16373"/>
                      <a:pt x="5204" y="16247"/>
                    </a:cubicBezTo>
                    <a:cubicBezTo>
                      <a:pt x="5158" y="16499"/>
                      <a:pt x="5066" y="16562"/>
                      <a:pt x="5066" y="16751"/>
                    </a:cubicBezTo>
                    <a:cubicBezTo>
                      <a:pt x="4559" y="16499"/>
                      <a:pt x="4421" y="16373"/>
                      <a:pt x="4099" y="15995"/>
                    </a:cubicBezTo>
                    <a:cubicBezTo>
                      <a:pt x="4053" y="16184"/>
                      <a:pt x="4053" y="16310"/>
                      <a:pt x="4053" y="16436"/>
                    </a:cubicBezTo>
                    <a:cubicBezTo>
                      <a:pt x="3869" y="16436"/>
                      <a:pt x="3915" y="16436"/>
                      <a:pt x="3823" y="16436"/>
                    </a:cubicBezTo>
                    <a:cubicBezTo>
                      <a:pt x="3684" y="16436"/>
                      <a:pt x="3592" y="16625"/>
                      <a:pt x="3500" y="16625"/>
                    </a:cubicBezTo>
                    <a:cubicBezTo>
                      <a:pt x="3408" y="16625"/>
                      <a:pt x="3316" y="16184"/>
                      <a:pt x="3316" y="15932"/>
                    </a:cubicBezTo>
                    <a:cubicBezTo>
                      <a:pt x="3316" y="15617"/>
                      <a:pt x="3316" y="15617"/>
                      <a:pt x="3316" y="15366"/>
                    </a:cubicBezTo>
                    <a:cubicBezTo>
                      <a:pt x="3316" y="15303"/>
                      <a:pt x="3316" y="14988"/>
                      <a:pt x="3132" y="14988"/>
                    </a:cubicBezTo>
                    <a:cubicBezTo>
                      <a:pt x="2994" y="14988"/>
                      <a:pt x="2809" y="15429"/>
                      <a:pt x="2763" y="15429"/>
                    </a:cubicBezTo>
                    <a:cubicBezTo>
                      <a:pt x="2487" y="15429"/>
                      <a:pt x="1520" y="14421"/>
                      <a:pt x="1382" y="14169"/>
                    </a:cubicBezTo>
                    <a:cubicBezTo>
                      <a:pt x="1474" y="14169"/>
                      <a:pt x="1612" y="14106"/>
                      <a:pt x="1704" y="14106"/>
                    </a:cubicBezTo>
                    <a:cubicBezTo>
                      <a:pt x="1520" y="13476"/>
                      <a:pt x="875" y="13350"/>
                      <a:pt x="875" y="12910"/>
                    </a:cubicBezTo>
                    <a:cubicBezTo>
                      <a:pt x="875" y="12028"/>
                      <a:pt x="1980" y="11335"/>
                      <a:pt x="2395" y="11335"/>
                    </a:cubicBezTo>
                    <a:cubicBezTo>
                      <a:pt x="2579" y="11335"/>
                      <a:pt x="3961" y="10643"/>
                      <a:pt x="3961" y="10265"/>
                    </a:cubicBezTo>
                    <a:cubicBezTo>
                      <a:pt x="3961" y="10076"/>
                      <a:pt x="3638" y="9635"/>
                      <a:pt x="3638" y="9572"/>
                    </a:cubicBezTo>
                    <a:cubicBezTo>
                      <a:pt x="3823" y="9446"/>
                      <a:pt x="3777" y="9446"/>
                      <a:pt x="3915" y="9572"/>
                    </a:cubicBezTo>
                    <a:cubicBezTo>
                      <a:pt x="3915" y="9131"/>
                      <a:pt x="3915" y="9131"/>
                      <a:pt x="3915" y="9131"/>
                    </a:cubicBezTo>
                    <a:cubicBezTo>
                      <a:pt x="3730" y="9131"/>
                      <a:pt x="3730" y="9131"/>
                      <a:pt x="3638" y="9131"/>
                    </a:cubicBezTo>
                    <a:cubicBezTo>
                      <a:pt x="3316" y="9131"/>
                      <a:pt x="3178" y="9635"/>
                      <a:pt x="2763" y="9635"/>
                    </a:cubicBezTo>
                    <a:cubicBezTo>
                      <a:pt x="2349" y="9635"/>
                      <a:pt x="2211" y="9320"/>
                      <a:pt x="1888" y="9446"/>
                    </a:cubicBezTo>
                    <a:cubicBezTo>
                      <a:pt x="1474" y="9446"/>
                      <a:pt x="967" y="9446"/>
                      <a:pt x="829" y="9446"/>
                    </a:cubicBezTo>
                    <a:cubicBezTo>
                      <a:pt x="783" y="9005"/>
                      <a:pt x="553" y="8879"/>
                      <a:pt x="553" y="8627"/>
                    </a:cubicBezTo>
                    <a:cubicBezTo>
                      <a:pt x="553" y="8564"/>
                      <a:pt x="599" y="8438"/>
                      <a:pt x="599" y="8376"/>
                    </a:cubicBezTo>
                    <a:cubicBezTo>
                      <a:pt x="276" y="8376"/>
                      <a:pt x="92" y="8187"/>
                      <a:pt x="0" y="7935"/>
                    </a:cubicBezTo>
                    <a:cubicBezTo>
                      <a:pt x="507" y="7494"/>
                      <a:pt x="1336" y="7116"/>
                      <a:pt x="1842" y="6675"/>
                    </a:cubicBezTo>
                    <a:cubicBezTo>
                      <a:pt x="2211" y="6675"/>
                      <a:pt x="2211" y="6675"/>
                      <a:pt x="2211" y="6675"/>
                    </a:cubicBezTo>
                    <a:cubicBezTo>
                      <a:pt x="2211" y="7557"/>
                      <a:pt x="2533" y="7305"/>
                      <a:pt x="2948" y="7305"/>
                    </a:cubicBezTo>
                    <a:cubicBezTo>
                      <a:pt x="3224" y="7305"/>
                      <a:pt x="3270" y="7431"/>
                      <a:pt x="3500" y="7305"/>
                    </a:cubicBezTo>
                    <a:cubicBezTo>
                      <a:pt x="3316" y="6423"/>
                      <a:pt x="2901" y="6360"/>
                      <a:pt x="2303" y="5983"/>
                    </a:cubicBezTo>
                    <a:cubicBezTo>
                      <a:pt x="2119" y="5920"/>
                      <a:pt x="1888" y="5038"/>
                      <a:pt x="1704" y="4912"/>
                    </a:cubicBezTo>
                    <a:cubicBezTo>
                      <a:pt x="1428" y="4723"/>
                      <a:pt x="599" y="4471"/>
                      <a:pt x="599" y="4282"/>
                    </a:cubicBezTo>
                    <a:cubicBezTo>
                      <a:pt x="599" y="4282"/>
                      <a:pt x="921" y="3590"/>
                      <a:pt x="921" y="3527"/>
                    </a:cubicBezTo>
                    <a:cubicBezTo>
                      <a:pt x="2026" y="3527"/>
                      <a:pt x="2026" y="3527"/>
                      <a:pt x="2026" y="3527"/>
                    </a:cubicBezTo>
                    <a:cubicBezTo>
                      <a:pt x="2625" y="2393"/>
                      <a:pt x="3546" y="1322"/>
                      <a:pt x="4652" y="882"/>
                    </a:cubicBezTo>
                    <a:cubicBezTo>
                      <a:pt x="4928" y="756"/>
                      <a:pt x="5112" y="945"/>
                      <a:pt x="5388" y="819"/>
                    </a:cubicBezTo>
                    <a:cubicBezTo>
                      <a:pt x="5711" y="630"/>
                      <a:pt x="5895" y="0"/>
                      <a:pt x="6264" y="0"/>
                    </a:cubicBezTo>
                    <a:cubicBezTo>
                      <a:pt x="6540" y="0"/>
                      <a:pt x="6632" y="315"/>
                      <a:pt x="6908" y="441"/>
                    </a:cubicBezTo>
                    <a:cubicBezTo>
                      <a:pt x="6770" y="630"/>
                      <a:pt x="6770" y="693"/>
                      <a:pt x="6724" y="819"/>
                    </a:cubicBezTo>
                    <a:cubicBezTo>
                      <a:pt x="6908" y="882"/>
                      <a:pt x="7093" y="693"/>
                      <a:pt x="7231" y="441"/>
                    </a:cubicBezTo>
                    <a:cubicBezTo>
                      <a:pt x="7461" y="567"/>
                      <a:pt x="7507" y="630"/>
                      <a:pt x="7691" y="693"/>
                    </a:cubicBezTo>
                    <a:cubicBezTo>
                      <a:pt x="8704" y="693"/>
                      <a:pt x="8704" y="693"/>
                      <a:pt x="8704" y="693"/>
                    </a:cubicBezTo>
                    <a:cubicBezTo>
                      <a:pt x="8935" y="945"/>
                      <a:pt x="9027" y="1071"/>
                      <a:pt x="9303" y="1259"/>
                    </a:cubicBezTo>
                    <a:cubicBezTo>
                      <a:pt x="10869" y="1259"/>
                      <a:pt x="10869" y="1259"/>
                      <a:pt x="10869" y="1259"/>
                    </a:cubicBezTo>
                    <a:cubicBezTo>
                      <a:pt x="11284" y="1826"/>
                      <a:pt x="12527" y="1952"/>
                      <a:pt x="13172" y="1952"/>
                    </a:cubicBezTo>
                    <a:cubicBezTo>
                      <a:pt x="13540" y="1952"/>
                      <a:pt x="13771" y="1763"/>
                      <a:pt x="14139" y="1763"/>
                    </a:cubicBezTo>
                    <a:cubicBezTo>
                      <a:pt x="14692" y="1763"/>
                      <a:pt x="14876" y="2141"/>
                      <a:pt x="15383" y="2330"/>
                    </a:cubicBezTo>
                    <a:cubicBezTo>
                      <a:pt x="15383" y="2267"/>
                      <a:pt x="15383" y="2267"/>
                      <a:pt x="15383" y="2267"/>
                    </a:cubicBezTo>
                    <a:lnTo>
                      <a:pt x="15383" y="2330"/>
                    </a:ln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/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52" name="ïṡḻíḑé"/>
              <p:cNvSpPr/>
              <p:nvPr/>
            </p:nvSpPr>
            <p:spPr>
              <a:xfrm>
                <a:off x="996576" y="1452456"/>
                <a:ext cx="50532" cy="6204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0868" extrusionOk="0">
                    <a:moveTo>
                      <a:pt x="8836" y="7461"/>
                    </a:moveTo>
                    <a:cubicBezTo>
                      <a:pt x="1964" y="5971"/>
                      <a:pt x="4909" y="4482"/>
                      <a:pt x="0" y="7461"/>
                    </a:cubicBezTo>
                    <a:cubicBezTo>
                      <a:pt x="0" y="-732"/>
                      <a:pt x="1964" y="-732"/>
                      <a:pt x="10800" y="758"/>
                    </a:cubicBezTo>
                    <a:cubicBezTo>
                      <a:pt x="9818" y="9696"/>
                      <a:pt x="21600" y="10440"/>
                      <a:pt x="21600" y="17889"/>
                    </a:cubicBezTo>
                    <a:cubicBezTo>
                      <a:pt x="21600" y="20123"/>
                      <a:pt x="19636" y="20868"/>
                      <a:pt x="17673" y="20868"/>
                    </a:cubicBezTo>
                    <a:cubicBezTo>
                      <a:pt x="13745" y="20868"/>
                      <a:pt x="8836" y="14165"/>
                      <a:pt x="8836" y="14165"/>
                    </a:cubicBezTo>
                    <a:cubicBezTo>
                      <a:pt x="8836" y="11185"/>
                      <a:pt x="7855" y="8951"/>
                      <a:pt x="8836" y="7461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53" name="îSliḓè"/>
              <p:cNvSpPr/>
              <p:nvPr/>
            </p:nvSpPr>
            <p:spPr>
              <a:xfrm>
                <a:off x="917973" y="1375357"/>
                <a:ext cx="48186" cy="776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513" h="21600" extrusionOk="0">
                    <a:moveTo>
                      <a:pt x="14087" y="11109"/>
                    </a:moveTo>
                    <a:cubicBezTo>
                      <a:pt x="14087" y="11726"/>
                      <a:pt x="17843" y="11726"/>
                      <a:pt x="17843" y="11109"/>
                    </a:cubicBezTo>
                    <a:cubicBezTo>
                      <a:pt x="17843" y="14811"/>
                      <a:pt x="21600" y="18514"/>
                      <a:pt x="17843" y="21600"/>
                    </a:cubicBezTo>
                    <a:cubicBezTo>
                      <a:pt x="12209" y="18514"/>
                      <a:pt x="10330" y="14811"/>
                      <a:pt x="10330" y="10491"/>
                    </a:cubicBezTo>
                    <a:cubicBezTo>
                      <a:pt x="4696" y="9874"/>
                      <a:pt x="0" y="6789"/>
                      <a:pt x="0" y="2469"/>
                    </a:cubicBezTo>
                    <a:cubicBezTo>
                      <a:pt x="0" y="617"/>
                      <a:pt x="2817" y="0"/>
                      <a:pt x="4696" y="0"/>
                    </a:cubicBezTo>
                    <a:cubicBezTo>
                      <a:pt x="12209" y="0"/>
                      <a:pt x="8452" y="1851"/>
                      <a:pt x="14087" y="0"/>
                    </a:cubicBezTo>
                    <a:cubicBezTo>
                      <a:pt x="14087" y="6789"/>
                      <a:pt x="12209" y="6789"/>
                      <a:pt x="14087" y="11109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54" name="iślíďé"/>
              <p:cNvSpPr/>
              <p:nvPr/>
            </p:nvSpPr>
            <p:spPr>
              <a:xfrm>
                <a:off x="1420474" y="631485"/>
                <a:ext cx="544610" cy="27293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9924" y="17137"/>
                    </a:moveTo>
                    <a:cubicBezTo>
                      <a:pt x="19645" y="17137"/>
                      <a:pt x="19459" y="17316"/>
                      <a:pt x="19459" y="17851"/>
                    </a:cubicBezTo>
                    <a:cubicBezTo>
                      <a:pt x="19459" y="18387"/>
                      <a:pt x="19924" y="18387"/>
                      <a:pt x="20017" y="18387"/>
                    </a:cubicBezTo>
                    <a:cubicBezTo>
                      <a:pt x="20110" y="19101"/>
                      <a:pt x="20297" y="19279"/>
                      <a:pt x="20483" y="19636"/>
                    </a:cubicBezTo>
                    <a:cubicBezTo>
                      <a:pt x="20110" y="21064"/>
                      <a:pt x="19179" y="21064"/>
                      <a:pt x="18155" y="21064"/>
                    </a:cubicBezTo>
                    <a:cubicBezTo>
                      <a:pt x="16479" y="21064"/>
                      <a:pt x="15921" y="18565"/>
                      <a:pt x="14710" y="18565"/>
                    </a:cubicBezTo>
                    <a:cubicBezTo>
                      <a:pt x="13966" y="18565"/>
                      <a:pt x="14338" y="19458"/>
                      <a:pt x="13686" y="19993"/>
                    </a:cubicBezTo>
                    <a:cubicBezTo>
                      <a:pt x="12569" y="21064"/>
                      <a:pt x="11545" y="20529"/>
                      <a:pt x="10707" y="21600"/>
                    </a:cubicBezTo>
                    <a:cubicBezTo>
                      <a:pt x="8845" y="21600"/>
                      <a:pt x="8100" y="21600"/>
                      <a:pt x="6983" y="21600"/>
                    </a:cubicBezTo>
                    <a:cubicBezTo>
                      <a:pt x="6331" y="21600"/>
                      <a:pt x="6797" y="20350"/>
                      <a:pt x="6331" y="19636"/>
                    </a:cubicBezTo>
                    <a:cubicBezTo>
                      <a:pt x="5866" y="19101"/>
                      <a:pt x="4562" y="19279"/>
                      <a:pt x="4003" y="19279"/>
                    </a:cubicBezTo>
                    <a:cubicBezTo>
                      <a:pt x="3166" y="19279"/>
                      <a:pt x="2421" y="17494"/>
                      <a:pt x="2141" y="16423"/>
                    </a:cubicBezTo>
                    <a:cubicBezTo>
                      <a:pt x="3072" y="15174"/>
                      <a:pt x="4376" y="14638"/>
                      <a:pt x="6052" y="14638"/>
                    </a:cubicBezTo>
                    <a:cubicBezTo>
                      <a:pt x="6703" y="14638"/>
                      <a:pt x="6983" y="14638"/>
                      <a:pt x="7448" y="14460"/>
                    </a:cubicBezTo>
                    <a:cubicBezTo>
                      <a:pt x="7169" y="14281"/>
                      <a:pt x="6797" y="13745"/>
                      <a:pt x="6424" y="13745"/>
                    </a:cubicBezTo>
                    <a:cubicBezTo>
                      <a:pt x="5586" y="13745"/>
                      <a:pt x="4655" y="13745"/>
                      <a:pt x="4190" y="13745"/>
                    </a:cubicBezTo>
                    <a:cubicBezTo>
                      <a:pt x="3352" y="13745"/>
                      <a:pt x="1117" y="14460"/>
                      <a:pt x="1117" y="12317"/>
                    </a:cubicBezTo>
                    <a:cubicBezTo>
                      <a:pt x="1117" y="10532"/>
                      <a:pt x="2234" y="11246"/>
                      <a:pt x="2700" y="10711"/>
                    </a:cubicBezTo>
                    <a:cubicBezTo>
                      <a:pt x="2048" y="10354"/>
                      <a:pt x="1769" y="10532"/>
                      <a:pt x="1303" y="10532"/>
                    </a:cubicBezTo>
                    <a:cubicBezTo>
                      <a:pt x="838" y="10532"/>
                      <a:pt x="0" y="9461"/>
                      <a:pt x="0" y="9104"/>
                    </a:cubicBezTo>
                    <a:cubicBezTo>
                      <a:pt x="0" y="5177"/>
                      <a:pt x="3817" y="2321"/>
                      <a:pt x="5214" y="2321"/>
                    </a:cubicBezTo>
                    <a:cubicBezTo>
                      <a:pt x="5866" y="2321"/>
                      <a:pt x="5772" y="4641"/>
                      <a:pt x="5959" y="5177"/>
                    </a:cubicBezTo>
                    <a:cubicBezTo>
                      <a:pt x="6331" y="4641"/>
                      <a:pt x="6610" y="3749"/>
                      <a:pt x="7262" y="3749"/>
                    </a:cubicBezTo>
                    <a:cubicBezTo>
                      <a:pt x="8379" y="3749"/>
                      <a:pt x="8752" y="4641"/>
                      <a:pt x="9124" y="6069"/>
                    </a:cubicBezTo>
                    <a:cubicBezTo>
                      <a:pt x="9497" y="5891"/>
                      <a:pt x="9869" y="5712"/>
                      <a:pt x="10334" y="5534"/>
                    </a:cubicBezTo>
                    <a:cubicBezTo>
                      <a:pt x="10241" y="4820"/>
                      <a:pt x="10148" y="4463"/>
                      <a:pt x="10148" y="4106"/>
                    </a:cubicBezTo>
                    <a:cubicBezTo>
                      <a:pt x="10986" y="4106"/>
                      <a:pt x="10986" y="4106"/>
                      <a:pt x="10986" y="4106"/>
                    </a:cubicBezTo>
                    <a:cubicBezTo>
                      <a:pt x="11545" y="4463"/>
                      <a:pt x="12197" y="5355"/>
                      <a:pt x="12383" y="6248"/>
                    </a:cubicBezTo>
                    <a:cubicBezTo>
                      <a:pt x="12569" y="7140"/>
                      <a:pt x="12290" y="9104"/>
                      <a:pt x="13034" y="9104"/>
                    </a:cubicBezTo>
                    <a:cubicBezTo>
                      <a:pt x="13407" y="9104"/>
                      <a:pt x="13407" y="8926"/>
                      <a:pt x="13593" y="8569"/>
                    </a:cubicBezTo>
                    <a:cubicBezTo>
                      <a:pt x="13221" y="7498"/>
                      <a:pt x="12662" y="3749"/>
                      <a:pt x="12662" y="3035"/>
                    </a:cubicBezTo>
                    <a:cubicBezTo>
                      <a:pt x="12662" y="2499"/>
                      <a:pt x="13034" y="2142"/>
                      <a:pt x="13407" y="2142"/>
                    </a:cubicBezTo>
                    <a:cubicBezTo>
                      <a:pt x="14152" y="2142"/>
                      <a:pt x="13872" y="2678"/>
                      <a:pt x="14524" y="2142"/>
                    </a:cubicBezTo>
                    <a:cubicBezTo>
                      <a:pt x="14524" y="1785"/>
                      <a:pt x="14524" y="1607"/>
                      <a:pt x="14524" y="1250"/>
                    </a:cubicBezTo>
                    <a:cubicBezTo>
                      <a:pt x="14524" y="536"/>
                      <a:pt x="15083" y="0"/>
                      <a:pt x="15734" y="0"/>
                    </a:cubicBezTo>
                    <a:cubicBezTo>
                      <a:pt x="16479" y="0"/>
                      <a:pt x="17131" y="536"/>
                      <a:pt x="17131" y="1785"/>
                    </a:cubicBezTo>
                    <a:cubicBezTo>
                      <a:pt x="17131" y="2856"/>
                      <a:pt x="16293" y="3570"/>
                      <a:pt x="16293" y="4284"/>
                    </a:cubicBezTo>
                    <a:cubicBezTo>
                      <a:pt x="16293" y="7140"/>
                      <a:pt x="17410" y="8926"/>
                      <a:pt x="17410" y="11068"/>
                    </a:cubicBezTo>
                    <a:cubicBezTo>
                      <a:pt x="17410" y="13567"/>
                      <a:pt x="20855" y="15174"/>
                      <a:pt x="21600" y="16423"/>
                    </a:cubicBezTo>
                    <a:cubicBezTo>
                      <a:pt x="20855" y="17316"/>
                      <a:pt x="20669" y="17137"/>
                      <a:pt x="19924" y="17137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55" name="ïṣ1ïďe"/>
              <p:cNvSpPr/>
              <p:nvPr/>
            </p:nvSpPr>
            <p:spPr>
              <a:xfrm>
                <a:off x="1218351" y="592094"/>
                <a:ext cx="305993" cy="18923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216" extrusionOk="0">
                    <a:moveTo>
                      <a:pt x="4652" y="20211"/>
                    </a:moveTo>
                    <a:cubicBezTo>
                      <a:pt x="4320" y="20211"/>
                      <a:pt x="3822" y="18453"/>
                      <a:pt x="3655" y="17951"/>
                    </a:cubicBezTo>
                    <a:cubicBezTo>
                      <a:pt x="2991" y="16695"/>
                      <a:pt x="0" y="16946"/>
                      <a:pt x="0" y="15690"/>
                    </a:cubicBezTo>
                    <a:cubicBezTo>
                      <a:pt x="0" y="11923"/>
                      <a:pt x="3655" y="8909"/>
                      <a:pt x="3655" y="4890"/>
                    </a:cubicBezTo>
                    <a:cubicBezTo>
                      <a:pt x="3655" y="3886"/>
                      <a:pt x="2658" y="2128"/>
                      <a:pt x="2658" y="872"/>
                    </a:cubicBezTo>
                    <a:cubicBezTo>
                      <a:pt x="4486" y="-133"/>
                      <a:pt x="5317" y="872"/>
                      <a:pt x="6978" y="872"/>
                    </a:cubicBezTo>
                    <a:cubicBezTo>
                      <a:pt x="7975" y="872"/>
                      <a:pt x="8640" y="-384"/>
                      <a:pt x="9969" y="118"/>
                    </a:cubicBezTo>
                    <a:cubicBezTo>
                      <a:pt x="11631" y="872"/>
                      <a:pt x="12295" y="2128"/>
                      <a:pt x="13957" y="2379"/>
                    </a:cubicBezTo>
                    <a:cubicBezTo>
                      <a:pt x="14622" y="3383"/>
                      <a:pt x="15452" y="2128"/>
                      <a:pt x="16449" y="2128"/>
                    </a:cubicBezTo>
                    <a:cubicBezTo>
                      <a:pt x="17945" y="2128"/>
                      <a:pt x="21600" y="4388"/>
                      <a:pt x="21600" y="6900"/>
                    </a:cubicBezTo>
                    <a:cubicBezTo>
                      <a:pt x="21600" y="8156"/>
                      <a:pt x="17612" y="8909"/>
                      <a:pt x="16948" y="9160"/>
                    </a:cubicBezTo>
                    <a:cubicBezTo>
                      <a:pt x="14622" y="10416"/>
                      <a:pt x="11465" y="14937"/>
                      <a:pt x="11465" y="17449"/>
                    </a:cubicBezTo>
                    <a:cubicBezTo>
                      <a:pt x="11465" y="18453"/>
                      <a:pt x="6314" y="21216"/>
                      <a:pt x="5815" y="21216"/>
                    </a:cubicBezTo>
                    <a:cubicBezTo>
                      <a:pt x="5317" y="21216"/>
                      <a:pt x="4985" y="20211"/>
                      <a:pt x="4652" y="20211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56" name="iṩḻiḍé"/>
              <p:cNvSpPr/>
              <p:nvPr/>
            </p:nvSpPr>
            <p:spPr>
              <a:xfrm>
                <a:off x="1462582" y="452205"/>
                <a:ext cx="362138" cy="14717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7434" y="21600"/>
                    </a:moveTo>
                    <a:cubicBezTo>
                      <a:pt x="6732" y="21600"/>
                      <a:pt x="5751" y="20271"/>
                      <a:pt x="5751" y="19606"/>
                    </a:cubicBezTo>
                    <a:cubicBezTo>
                      <a:pt x="5751" y="17280"/>
                      <a:pt x="6592" y="17612"/>
                      <a:pt x="7434" y="17612"/>
                    </a:cubicBezTo>
                    <a:cubicBezTo>
                      <a:pt x="7013" y="16615"/>
                      <a:pt x="6452" y="15951"/>
                      <a:pt x="6452" y="14289"/>
                    </a:cubicBezTo>
                    <a:cubicBezTo>
                      <a:pt x="6031" y="14622"/>
                      <a:pt x="5751" y="15286"/>
                      <a:pt x="5751" y="16283"/>
                    </a:cubicBezTo>
                    <a:cubicBezTo>
                      <a:pt x="4629" y="16615"/>
                      <a:pt x="3787" y="17280"/>
                      <a:pt x="3086" y="17280"/>
                    </a:cubicBezTo>
                    <a:cubicBezTo>
                      <a:pt x="2244" y="17280"/>
                      <a:pt x="1403" y="16283"/>
                      <a:pt x="982" y="16283"/>
                    </a:cubicBezTo>
                    <a:cubicBezTo>
                      <a:pt x="421" y="16283"/>
                      <a:pt x="0" y="15286"/>
                      <a:pt x="0" y="13957"/>
                    </a:cubicBezTo>
                    <a:cubicBezTo>
                      <a:pt x="0" y="12628"/>
                      <a:pt x="281" y="12960"/>
                      <a:pt x="0" y="11963"/>
                    </a:cubicBezTo>
                    <a:cubicBezTo>
                      <a:pt x="701" y="11631"/>
                      <a:pt x="982" y="10302"/>
                      <a:pt x="1543" y="10302"/>
                    </a:cubicBezTo>
                    <a:cubicBezTo>
                      <a:pt x="2805" y="10302"/>
                      <a:pt x="3366" y="11631"/>
                      <a:pt x="4348" y="11963"/>
                    </a:cubicBezTo>
                    <a:cubicBezTo>
                      <a:pt x="3366" y="11631"/>
                      <a:pt x="2384" y="10634"/>
                      <a:pt x="1543" y="9969"/>
                    </a:cubicBezTo>
                    <a:cubicBezTo>
                      <a:pt x="1543" y="7643"/>
                      <a:pt x="1543" y="7643"/>
                      <a:pt x="1543" y="7643"/>
                    </a:cubicBezTo>
                    <a:cubicBezTo>
                      <a:pt x="2104" y="7643"/>
                      <a:pt x="2665" y="7643"/>
                      <a:pt x="2665" y="7643"/>
                    </a:cubicBezTo>
                    <a:cubicBezTo>
                      <a:pt x="2805" y="7643"/>
                      <a:pt x="4769" y="8640"/>
                      <a:pt x="5330" y="8640"/>
                    </a:cubicBezTo>
                    <a:cubicBezTo>
                      <a:pt x="4208" y="8308"/>
                      <a:pt x="3226" y="8640"/>
                      <a:pt x="2244" y="7311"/>
                    </a:cubicBezTo>
                    <a:cubicBezTo>
                      <a:pt x="2525" y="6314"/>
                      <a:pt x="3086" y="5649"/>
                      <a:pt x="3506" y="5649"/>
                    </a:cubicBezTo>
                    <a:cubicBezTo>
                      <a:pt x="4348" y="5649"/>
                      <a:pt x="4488" y="6314"/>
                      <a:pt x="5049" y="5982"/>
                    </a:cubicBezTo>
                    <a:cubicBezTo>
                      <a:pt x="4348" y="6314"/>
                      <a:pt x="3226" y="5982"/>
                      <a:pt x="3226" y="3988"/>
                    </a:cubicBezTo>
                    <a:cubicBezTo>
                      <a:pt x="4348" y="3655"/>
                      <a:pt x="4769" y="3988"/>
                      <a:pt x="5330" y="3988"/>
                    </a:cubicBezTo>
                    <a:cubicBezTo>
                      <a:pt x="5470" y="3988"/>
                      <a:pt x="6312" y="4652"/>
                      <a:pt x="6312" y="6314"/>
                    </a:cubicBezTo>
                    <a:cubicBezTo>
                      <a:pt x="7013" y="6314"/>
                      <a:pt x="7574" y="6314"/>
                      <a:pt x="7714" y="6314"/>
                    </a:cubicBezTo>
                    <a:cubicBezTo>
                      <a:pt x="9538" y="6314"/>
                      <a:pt x="10940" y="11963"/>
                      <a:pt x="13605" y="11963"/>
                    </a:cubicBezTo>
                    <a:cubicBezTo>
                      <a:pt x="14447" y="11963"/>
                      <a:pt x="14727" y="11298"/>
                      <a:pt x="15008" y="9969"/>
                    </a:cubicBezTo>
                    <a:cubicBezTo>
                      <a:pt x="14306" y="9969"/>
                      <a:pt x="14026" y="9969"/>
                      <a:pt x="13745" y="9637"/>
                    </a:cubicBezTo>
                    <a:cubicBezTo>
                      <a:pt x="13745" y="9305"/>
                      <a:pt x="14166" y="8972"/>
                      <a:pt x="14306" y="8972"/>
                    </a:cubicBezTo>
                    <a:cubicBezTo>
                      <a:pt x="14306" y="6978"/>
                      <a:pt x="14306" y="6978"/>
                      <a:pt x="14306" y="6978"/>
                    </a:cubicBezTo>
                    <a:cubicBezTo>
                      <a:pt x="13886" y="6978"/>
                      <a:pt x="12764" y="6314"/>
                      <a:pt x="12764" y="4985"/>
                    </a:cubicBezTo>
                    <a:cubicBezTo>
                      <a:pt x="12764" y="2326"/>
                      <a:pt x="14447" y="1329"/>
                      <a:pt x="15008" y="0"/>
                    </a:cubicBezTo>
                    <a:cubicBezTo>
                      <a:pt x="15429" y="665"/>
                      <a:pt x="15849" y="1329"/>
                      <a:pt x="16270" y="1329"/>
                    </a:cubicBezTo>
                    <a:cubicBezTo>
                      <a:pt x="16130" y="2326"/>
                      <a:pt x="16270" y="2658"/>
                      <a:pt x="16270" y="2991"/>
                    </a:cubicBezTo>
                    <a:cubicBezTo>
                      <a:pt x="16270" y="5317"/>
                      <a:pt x="17392" y="8640"/>
                      <a:pt x="18514" y="8640"/>
                    </a:cubicBezTo>
                    <a:cubicBezTo>
                      <a:pt x="19075" y="8640"/>
                      <a:pt x="19496" y="6646"/>
                      <a:pt x="20197" y="6646"/>
                    </a:cubicBezTo>
                    <a:cubicBezTo>
                      <a:pt x="21039" y="6646"/>
                      <a:pt x="21600" y="8640"/>
                      <a:pt x="21600" y="10302"/>
                    </a:cubicBezTo>
                    <a:cubicBezTo>
                      <a:pt x="21600" y="12295"/>
                      <a:pt x="20197" y="16948"/>
                      <a:pt x="19636" y="17280"/>
                    </a:cubicBezTo>
                    <a:cubicBezTo>
                      <a:pt x="19216" y="17612"/>
                      <a:pt x="15569" y="16615"/>
                      <a:pt x="15569" y="16948"/>
                    </a:cubicBezTo>
                    <a:cubicBezTo>
                      <a:pt x="15569" y="17280"/>
                      <a:pt x="11642" y="19274"/>
                      <a:pt x="11501" y="19606"/>
                    </a:cubicBezTo>
                    <a:cubicBezTo>
                      <a:pt x="10239" y="20603"/>
                      <a:pt x="8977" y="21600"/>
                      <a:pt x="7434" y="2160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57" name="ïṡḷíḋé"/>
              <p:cNvSpPr/>
              <p:nvPr/>
            </p:nvSpPr>
            <p:spPr>
              <a:xfrm>
                <a:off x="1409245" y="505721"/>
                <a:ext cx="50531" cy="3478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8229" y="21600"/>
                    </a:moveTo>
                    <a:cubicBezTo>
                      <a:pt x="4114" y="21600"/>
                      <a:pt x="0" y="18900"/>
                      <a:pt x="0" y="14850"/>
                    </a:cubicBezTo>
                    <a:cubicBezTo>
                      <a:pt x="0" y="4050"/>
                      <a:pt x="16457" y="0"/>
                      <a:pt x="21600" y="0"/>
                    </a:cubicBezTo>
                    <a:cubicBezTo>
                      <a:pt x="20571" y="9450"/>
                      <a:pt x="13371" y="21600"/>
                      <a:pt x="8229" y="2160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58" name="îṣľïḑê"/>
              <p:cNvSpPr/>
              <p:nvPr/>
            </p:nvSpPr>
            <p:spPr>
              <a:xfrm>
                <a:off x="1541185" y="454724"/>
                <a:ext cx="39303" cy="1369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8100" y="21600"/>
                    </a:moveTo>
                    <a:cubicBezTo>
                      <a:pt x="5400" y="21600"/>
                      <a:pt x="0" y="14400"/>
                      <a:pt x="0" y="0"/>
                    </a:cubicBezTo>
                    <a:cubicBezTo>
                      <a:pt x="21600" y="0"/>
                      <a:pt x="21600" y="0"/>
                      <a:pt x="21600" y="0"/>
                    </a:cubicBezTo>
                    <a:cubicBezTo>
                      <a:pt x="21600" y="21600"/>
                      <a:pt x="21600" y="21600"/>
                      <a:pt x="21600" y="21600"/>
                    </a:cubicBezTo>
                    <a:cubicBezTo>
                      <a:pt x="18900" y="21600"/>
                      <a:pt x="8100" y="21600"/>
                      <a:pt x="8100" y="2160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59" name="ï$líḑe"/>
              <p:cNvSpPr/>
              <p:nvPr/>
            </p:nvSpPr>
            <p:spPr>
              <a:xfrm>
                <a:off x="1305375" y="418718"/>
                <a:ext cx="207739" cy="10038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19764" extrusionOk="0">
                    <a:moveTo>
                      <a:pt x="21600" y="1691"/>
                    </a:moveTo>
                    <a:cubicBezTo>
                      <a:pt x="21600" y="3013"/>
                      <a:pt x="21109" y="4335"/>
                      <a:pt x="20127" y="4776"/>
                    </a:cubicBezTo>
                    <a:cubicBezTo>
                      <a:pt x="20373" y="6540"/>
                      <a:pt x="21109" y="6980"/>
                      <a:pt x="21109" y="8744"/>
                    </a:cubicBezTo>
                    <a:cubicBezTo>
                      <a:pt x="16445" y="14915"/>
                      <a:pt x="16445" y="14915"/>
                      <a:pt x="16445" y="14915"/>
                    </a:cubicBezTo>
                    <a:cubicBezTo>
                      <a:pt x="14727" y="14915"/>
                      <a:pt x="14727" y="10507"/>
                      <a:pt x="13745" y="9625"/>
                    </a:cubicBezTo>
                    <a:cubicBezTo>
                      <a:pt x="13500" y="12711"/>
                      <a:pt x="11782" y="15797"/>
                      <a:pt x="10064" y="15356"/>
                    </a:cubicBezTo>
                    <a:cubicBezTo>
                      <a:pt x="9818" y="17560"/>
                      <a:pt x="9082" y="19764"/>
                      <a:pt x="7855" y="19764"/>
                    </a:cubicBezTo>
                    <a:cubicBezTo>
                      <a:pt x="6873" y="19764"/>
                      <a:pt x="6136" y="17560"/>
                      <a:pt x="5891" y="16678"/>
                    </a:cubicBezTo>
                    <a:cubicBezTo>
                      <a:pt x="4664" y="18001"/>
                      <a:pt x="3927" y="16678"/>
                      <a:pt x="2945" y="16678"/>
                    </a:cubicBezTo>
                    <a:cubicBezTo>
                      <a:pt x="2209" y="16678"/>
                      <a:pt x="1964" y="18001"/>
                      <a:pt x="982" y="18442"/>
                    </a:cubicBezTo>
                    <a:cubicBezTo>
                      <a:pt x="982" y="17119"/>
                      <a:pt x="0" y="16237"/>
                      <a:pt x="0" y="15356"/>
                    </a:cubicBezTo>
                    <a:cubicBezTo>
                      <a:pt x="0" y="14915"/>
                      <a:pt x="1964" y="12270"/>
                      <a:pt x="2455" y="11829"/>
                    </a:cubicBezTo>
                    <a:cubicBezTo>
                      <a:pt x="4173" y="10507"/>
                      <a:pt x="5645" y="10066"/>
                      <a:pt x="7609" y="8303"/>
                    </a:cubicBezTo>
                    <a:cubicBezTo>
                      <a:pt x="9573" y="6099"/>
                      <a:pt x="10064" y="809"/>
                      <a:pt x="13255" y="809"/>
                    </a:cubicBezTo>
                    <a:cubicBezTo>
                      <a:pt x="13991" y="809"/>
                      <a:pt x="14236" y="1250"/>
                      <a:pt x="15218" y="1250"/>
                    </a:cubicBezTo>
                    <a:cubicBezTo>
                      <a:pt x="15218" y="1250"/>
                      <a:pt x="21600" y="-1836"/>
                      <a:pt x="21600" y="1691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60" name="îṡlîḑé"/>
              <p:cNvSpPr/>
              <p:nvPr/>
            </p:nvSpPr>
            <p:spPr>
              <a:xfrm>
                <a:off x="1583295" y="339822"/>
                <a:ext cx="117906" cy="3478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8640" y="21600"/>
                    </a:moveTo>
                    <a:cubicBezTo>
                      <a:pt x="6048" y="21600"/>
                      <a:pt x="5616" y="17280"/>
                      <a:pt x="3888" y="17280"/>
                    </a:cubicBezTo>
                    <a:cubicBezTo>
                      <a:pt x="2160" y="17280"/>
                      <a:pt x="1296" y="21600"/>
                      <a:pt x="0" y="21600"/>
                    </a:cubicBezTo>
                    <a:cubicBezTo>
                      <a:pt x="0" y="12960"/>
                      <a:pt x="11232" y="0"/>
                      <a:pt x="13824" y="0"/>
                    </a:cubicBezTo>
                    <a:cubicBezTo>
                      <a:pt x="17712" y="0"/>
                      <a:pt x="21168" y="7200"/>
                      <a:pt x="21600" y="15840"/>
                    </a:cubicBezTo>
                    <a:cubicBezTo>
                      <a:pt x="20304" y="17280"/>
                      <a:pt x="19008" y="21600"/>
                      <a:pt x="16848" y="21600"/>
                    </a:cubicBezTo>
                    <a:cubicBezTo>
                      <a:pt x="11664" y="21600"/>
                      <a:pt x="12528" y="21600"/>
                      <a:pt x="8640" y="2160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61" name="ïšľîḋe"/>
              <p:cNvSpPr/>
              <p:nvPr/>
            </p:nvSpPr>
            <p:spPr>
              <a:xfrm>
                <a:off x="1586101" y="379960"/>
                <a:ext cx="103871" cy="5084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8655" y="9391"/>
                    </a:moveTo>
                    <a:cubicBezTo>
                      <a:pt x="18655" y="17843"/>
                      <a:pt x="11782" y="21600"/>
                      <a:pt x="6873" y="21600"/>
                    </a:cubicBezTo>
                    <a:cubicBezTo>
                      <a:pt x="3927" y="21600"/>
                      <a:pt x="0" y="14087"/>
                      <a:pt x="0" y="10330"/>
                    </a:cubicBezTo>
                    <a:cubicBezTo>
                      <a:pt x="0" y="939"/>
                      <a:pt x="13255" y="0"/>
                      <a:pt x="17673" y="0"/>
                    </a:cubicBezTo>
                    <a:cubicBezTo>
                      <a:pt x="20127" y="0"/>
                      <a:pt x="21109" y="2817"/>
                      <a:pt x="21600" y="4696"/>
                    </a:cubicBezTo>
                    <a:cubicBezTo>
                      <a:pt x="19145" y="8452"/>
                      <a:pt x="15709" y="9391"/>
                      <a:pt x="12273" y="9391"/>
                    </a:cubicBezTo>
                    <a:lnTo>
                      <a:pt x="18655" y="9391"/>
                    </a:ln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62" name="îśļîḋè"/>
              <p:cNvSpPr/>
              <p:nvPr/>
            </p:nvSpPr>
            <p:spPr>
              <a:xfrm>
                <a:off x="1535571" y="385478"/>
                <a:ext cx="36496" cy="2391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13789" extrusionOk="0">
                    <a:moveTo>
                      <a:pt x="21600" y="7436"/>
                    </a:moveTo>
                    <a:cubicBezTo>
                      <a:pt x="18720" y="11248"/>
                      <a:pt x="17280" y="13789"/>
                      <a:pt x="12960" y="13789"/>
                    </a:cubicBezTo>
                    <a:cubicBezTo>
                      <a:pt x="7200" y="13789"/>
                      <a:pt x="0" y="8707"/>
                      <a:pt x="0" y="6165"/>
                    </a:cubicBezTo>
                    <a:cubicBezTo>
                      <a:pt x="0" y="-7811"/>
                      <a:pt x="17280" y="6165"/>
                      <a:pt x="21600" y="7436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63" name="îṧ1îḓe"/>
              <p:cNvSpPr/>
              <p:nvPr/>
            </p:nvSpPr>
            <p:spPr>
              <a:xfrm>
                <a:off x="1920166" y="635367"/>
                <a:ext cx="176860" cy="13258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0985" extrusionOk="0">
                    <a:moveTo>
                      <a:pt x="19008" y="7529"/>
                    </a:moveTo>
                    <a:cubicBezTo>
                      <a:pt x="19008" y="9654"/>
                      <a:pt x="18720" y="8237"/>
                      <a:pt x="18720" y="10008"/>
                    </a:cubicBezTo>
                    <a:cubicBezTo>
                      <a:pt x="19296" y="10008"/>
                      <a:pt x="20736" y="10362"/>
                      <a:pt x="21600" y="10716"/>
                    </a:cubicBezTo>
                    <a:cubicBezTo>
                      <a:pt x="21024" y="19215"/>
                      <a:pt x="20736" y="16736"/>
                      <a:pt x="16416" y="18860"/>
                    </a:cubicBezTo>
                    <a:cubicBezTo>
                      <a:pt x="15264" y="19215"/>
                      <a:pt x="15264" y="20985"/>
                      <a:pt x="14112" y="20985"/>
                    </a:cubicBezTo>
                    <a:cubicBezTo>
                      <a:pt x="12096" y="20985"/>
                      <a:pt x="12096" y="19215"/>
                      <a:pt x="11232" y="18506"/>
                    </a:cubicBezTo>
                    <a:cubicBezTo>
                      <a:pt x="7776" y="13903"/>
                      <a:pt x="3744" y="14611"/>
                      <a:pt x="0" y="10008"/>
                    </a:cubicBezTo>
                    <a:cubicBezTo>
                      <a:pt x="0" y="7529"/>
                      <a:pt x="0" y="7529"/>
                      <a:pt x="0" y="7529"/>
                    </a:cubicBezTo>
                    <a:cubicBezTo>
                      <a:pt x="1728" y="7529"/>
                      <a:pt x="3456" y="9300"/>
                      <a:pt x="5760" y="9300"/>
                    </a:cubicBezTo>
                    <a:cubicBezTo>
                      <a:pt x="6912" y="9300"/>
                      <a:pt x="6624" y="9300"/>
                      <a:pt x="7776" y="9300"/>
                    </a:cubicBezTo>
                    <a:cubicBezTo>
                      <a:pt x="7776" y="5051"/>
                      <a:pt x="7776" y="5051"/>
                      <a:pt x="7776" y="5051"/>
                    </a:cubicBezTo>
                    <a:cubicBezTo>
                      <a:pt x="6048" y="4696"/>
                      <a:pt x="3456" y="5051"/>
                      <a:pt x="3456" y="3280"/>
                    </a:cubicBezTo>
                    <a:cubicBezTo>
                      <a:pt x="3456" y="2572"/>
                      <a:pt x="4320" y="2218"/>
                      <a:pt x="4608" y="1864"/>
                    </a:cubicBezTo>
                    <a:cubicBezTo>
                      <a:pt x="6624" y="-615"/>
                      <a:pt x="9216" y="93"/>
                      <a:pt x="12096" y="93"/>
                    </a:cubicBezTo>
                    <a:cubicBezTo>
                      <a:pt x="14400" y="93"/>
                      <a:pt x="17280" y="93"/>
                      <a:pt x="17280" y="93"/>
                    </a:cubicBezTo>
                    <a:cubicBezTo>
                      <a:pt x="17568" y="93"/>
                      <a:pt x="18432" y="801"/>
                      <a:pt x="18432" y="1510"/>
                    </a:cubicBezTo>
                    <a:cubicBezTo>
                      <a:pt x="18432" y="4696"/>
                      <a:pt x="15264" y="5759"/>
                      <a:pt x="14400" y="7175"/>
                    </a:cubicBezTo>
                    <a:cubicBezTo>
                      <a:pt x="15264" y="7175"/>
                      <a:pt x="19008" y="5759"/>
                      <a:pt x="19008" y="7529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64" name="iS1idé"/>
              <p:cNvSpPr/>
              <p:nvPr/>
            </p:nvSpPr>
            <p:spPr>
              <a:xfrm>
                <a:off x="1858407" y="466840"/>
                <a:ext cx="196509" cy="970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0613" extrusionOk="0">
                    <a:moveTo>
                      <a:pt x="1029" y="5013"/>
                    </a:moveTo>
                    <a:cubicBezTo>
                      <a:pt x="514" y="4053"/>
                      <a:pt x="0" y="2613"/>
                      <a:pt x="0" y="693"/>
                    </a:cubicBezTo>
                    <a:cubicBezTo>
                      <a:pt x="257" y="693"/>
                      <a:pt x="771" y="693"/>
                      <a:pt x="1286" y="693"/>
                    </a:cubicBezTo>
                    <a:cubicBezTo>
                      <a:pt x="4629" y="693"/>
                      <a:pt x="6171" y="11253"/>
                      <a:pt x="9771" y="9333"/>
                    </a:cubicBezTo>
                    <a:cubicBezTo>
                      <a:pt x="9000" y="8373"/>
                      <a:pt x="7971" y="6933"/>
                      <a:pt x="7457" y="5973"/>
                    </a:cubicBezTo>
                    <a:cubicBezTo>
                      <a:pt x="7457" y="3573"/>
                      <a:pt x="7457" y="3573"/>
                      <a:pt x="7457" y="3573"/>
                    </a:cubicBezTo>
                    <a:cubicBezTo>
                      <a:pt x="10029" y="3573"/>
                      <a:pt x="11057" y="7893"/>
                      <a:pt x="13886" y="7893"/>
                    </a:cubicBezTo>
                    <a:cubicBezTo>
                      <a:pt x="13886" y="3573"/>
                      <a:pt x="13886" y="3573"/>
                      <a:pt x="13886" y="3573"/>
                    </a:cubicBezTo>
                    <a:cubicBezTo>
                      <a:pt x="11829" y="3573"/>
                      <a:pt x="10286" y="3573"/>
                      <a:pt x="9771" y="213"/>
                    </a:cubicBezTo>
                    <a:cubicBezTo>
                      <a:pt x="10543" y="-267"/>
                      <a:pt x="11057" y="213"/>
                      <a:pt x="11829" y="213"/>
                    </a:cubicBezTo>
                    <a:cubicBezTo>
                      <a:pt x="13629" y="213"/>
                      <a:pt x="14914" y="2133"/>
                      <a:pt x="16971" y="2133"/>
                    </a:cubicBezTo>
                    <a:cubicBezTo>
                      <a:pt x="17743" y="2133"/>
                      <a:pt x="18257" y="693"/>
                      <a:pt x="19286" y="693"/>
                    </a:cubicBezTo>
                    <a:cubicBezTo>
                      <a:pt x="21343" y="693"/>
                      <a:pt x="21600" y="2613"/>
                      <a:pt x="21600" y="5973"/>
                    </a:cubicBezTo>
                    <a:cubicBezTo>
                      <a:pt x="21600" y="10773"/>
                      <a:pt x="20057" y="13173"/>
                      <a:pt x="20571" y="19413"/>
                    </a:cubicBezTo>
                    <a:cubicBezTo>
                      <a:pt x="18771" y="20373"/>
                      <a:pt x="16457" y="20373"/>
                      <a:pt x="15943" y="20373"/>
                    </a:cubicBezTo>
                    <a:cubicBezTo>
                      <a:pt x="15429" y="20373"/>
                      <a:pt x="12343" y="21333"/>
                      <a:pt x="12343" y="19413"/>
                    </a:cubicBezTo>
                    <a:cubicBezTo>
                      <a:pt x="12343" y="18453"/>
                      <a:pt x="12857" y="17493"/>
                      <a:pt x="13114" y="17013"/>
                    </a:cubicBezTo>
                    <a:cubicBezTo>
                      <a:pt x="13114" y="16533"/>
                      <a:pt x="13114" y="15573"/>
                      <a:pt x="13114" y="15093"/>
                    </a:cubicBezTo>
                    <a:cubicBezTo>
                      <a:pt x="13114" y="13173"/>
                      <a:pt x="15429" y="13173"/>
                      <a:pt x="15943" y="11733"/>
                    </a:cubicBezTo>
                    <a:cubicBezTo>
                      <a:pt x="15686" y="11253"/>
                      <a:pt x="15171" y="11253"/>
                      <a:pt x="14657" y="11253"/>
                    </a:cubicBezTo>
                    <a:cubicBezTo>
                      <a:pt x="12600" y="11253"/>
                      <a:pt x="8743" y="13173"/>
                      <a:pt x="6429" y="13173"/>
                    </a:cubicBezTo>
                    <a:cubicBezTo>
                      <a:pt x="5657" y="13173"/>
                      <a:pt x="5143" y="12213"/>
                      <a:pt x="5143" y="10773"/>
                    </a:cubicBezTo>
                    <a:cubicBezTo>
                      <a:pt x="3343" y="10773"/>
                      <a:pt x="3343" y="10773"/>
                      <a:pt x="3343" y="10773"/>
                    </a:cubicBezTo>
                    <a:cubicBezTo>
                      <a:pt x="3086" y="8853"/>
                      <a:pt x="3086" y="8853"/>
                      <a:pt x="3086" y="8853"/>
                    </a:cubicBezTo>
                    <a:cubicBezTo>
                      <a:pt x="1800" y="9333"/>
                      <a:pt x="1029" y="7893"/>
                      <a:pt x="257" y="6453"/>
                    </a:cubicBezTo>
                    <a:cubicBezTo>
                      <a:pt x="257" y="2613"/>
                      <a:pt x="257" y="2613"/>
                      <a:pt x="257" y="2613"/>
                    </a:cubicBezTo>
                    <a:lnTo>
                      <a:pt x="1029" y="5013"/>
                    </a:ln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65" name="iṧḻïḓe"/>
              <p:cNvSpPr/>
              <p:nvPr/>
            </p:nvSpPr>
            <p:spPr>
              <a:xfrm>
                <a:off x="2007191" y="845549"/>
                <a:ext cx="115099" cy="6422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6751" y="21600"/>
                    </a:moveTo>
                    <a:cubicBezTo>
                      <a:pt x="14106" y="21600"/>
                      <a:pt x="0" y="12662"/>
                      <a:pt x="0" y="11917"/>
                    </a:cubicBezTo>
                    <a:cubicBezTo>
                      <a:pt x="0" y="8938"/>
                      <a:pt x="3527" y="10428"/>
                      <a:pt x="3967" y="10428"/>
                    </a:cubicBezTo>
                    <a:cubicBezTo>
                      <a:pt x="6612" y="8938"/>
                      <a:pt x="5731" y="0"/>
                      <a:pt x="9698" y="0"/>
                    </a:cubicBezTo>
                    <a:cubicBezTo>
                      <a:pt x="12343" y="0"/>
                      <a:pt x="20278" y="11917"/>
                      <a:pt x="21600" y="16386"/>
                    </a:cubicBezTo>
                    <a:cubicBezTo>
                      <a:pt x="19837" y="18621"/>
                      <a:pt x="18955" y="21600"/>
                      <a:pt x="16751" y="2160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66" name="í$ḷïḍè"/>
              <p:cNvSpPr/>
              <p:nvPr/>
            </p:nvSpPr>
            <p:spPr>
              <a:xfrm>
                <a:off x="2119481" y="612753"/>
                <a:ext cx="151593" cy="11773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4483"/>
                    </a:moveTo>
                    <a:cubicBezTo>
                      <a:pt x="21600" y="4891"/>
                      <a:pt x="18942" y="7336"/>
                      <a:pt x="18942" y="7336"/>
                    </a:cubicBezTo>
                    <a:cubicBezTo>
                      <a:pt x="16948" y="10596"/>
                      <a:pt x="14954" y="14264"/>
                      <a:pt x="10634" y="14264"/>
                    </a:cubicBezTo>
                    <a:cubicBezTo>
                      <a:pt x="7311" y="14264"/>
                      <a:pt x="7311" y="12226"/>
                      <a:pt x="6646" y="15487"/>
                    </a:cubicBezTo>
                    <a:cubicBezTo>
                      <a:pt x="8308" y="15487"/>
                      <a:pt x="8308" y="15487"/>
                      <a:pt x="8308" y="15487"/>
                    </a:cubicBezTo>
                    <a:cubicBezTo>
                      <a:pt x="7975" y="18747"/>
                      <a:pt x="6978" y="19562"/>
                      <a:pt x="4985" y="21600"/>
                    </a:cubicBezTo>
                    <a:cubicBezTo>
                      <a:pt x="1994" y="21600"/>
                      <a:pt x="1994" y="21600"/>
                      <a:pt x="1994" y="21600"/>
                    </a:cubicBezTo>
                    <a:cubicBezTo>
                      <a:pt x="1994" y="19155"/>
                      <a:pt x="1994" y="17117"/>
                      <a:pt x="2326" y="16302"/>
                    </a:cubicBezTo>
                    <a:cubicBezTo>
                      <a:pt x="0" y="13449"/>
                      <a:pt x="997" y="11004"/>
                      <a:pt x="0" y="7743"/>
                    </a:cubicBezTo>
                    <a:cubicBezTo>
                      <a:pt x="0" y="4483"/>
                      <a:pt x="0" y="4483"/>
                      <a:pt x="0" y="4483"/>
                    </a:cubicBezTo>
                    <a:cubicBezTo>
                      <a:pt x="997" y="4483"/>
                      <a:pt x="2658" y="4483"/>
                      <a:pt x="3323" y="4483"/>
                    </a:cubicBezTo>
                    <a:cubicBezTo>
                      <a:pt x="2991" y="4483"/>
                      <a:pt x="3323" y="3260"/>
                      <a:pt x="3323" y="2853"/>
                    </a:cubicBezTo>
                    <a:cubicBezTo>
                      <a:pt x="3323" y="2445"/>
                      <a:pt x="4320" y="0"/>
                      <a:pt x="7311" y="0"/>
                    </a:cubicBezTo>
                    <a:cubicBezTo>
                      <a:pt x="12295" y="0"/>
                      <a:pt x="16283" y="2038"/>
                      <a:pt x="21600" y="2038"/>
                    </a:cubicBezTo>
                    <a:cubicBezTo>
                      <a:pt x="21600" y="3260"/>
                      <a:pt x="21600" y="3668"/>
                      <a:pt x="21600" y="4483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67" name="íSľíḋe"/>
              <p:cNvSpPr/>
              <p:nvPr/>
            </p:nvSpPr>
            <p:spPr>
              <a:xfrm>
                <a:off x="1807876" y="401366"/>
                <a:ext cx="50532" cy="4013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14400"/>
                    </a:moveTo>
                    <a:cubicBezTo>
                      <a:pt x="21600" y="19200"/>
                      <a:pt x="18514" y="21600"/>
                      <a:pt x="15429" y="21600"/>
                    </a:cubicBezTo>
                    <a:cubicBezTo>
                      <a:pt x="10286" y="21600"/>
                      <a:pt x="0" y="7200"/>
                      <a:pt x="0" y="0"/>
                    </a:cubicBezTo>
                    <a:cubicBezTo>
                      <a:pt x="11314" y="0"/>
                      <a:pt x="12343" y="10800"/>
                      <a:pt x="21600" y="1440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68" name="isḻïďé"/>
              <p:cNvSpPr/>
              <p:nvPr/>
            </p:nvSpPr>
            <p:spPr>
              <a:xfrm>
                <a:off x="1838755" y="535156"/>
                <a:ext cx="33688" cy="2675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280" y="0"/>
                    </a:moveTo>
                    <a:cubicBezTo>
                      <a:pt x="18720" y="3600"/>
                      <a:pt x="21600" y="5400"/>
                      <a:pt x="21600" y="10800"/>
                    </a:cubicBezTo>
                    <a:cubicBezTo>
                      <a:pt x="21600" y="21600"/>
                      <a:pt x="15840" y="21600"/>
                      <a:pt x="12960" y="21600"/>
                    </a:cubicBezTo>
                    <a:cubicBezTo>
                      <a:pt x="5760" y="21600"/>
                      <a:pt x="4320" y="19800"/>
                      <a:pt x="0" y="21600"/>
                    </a:cubicBezTo>
                    <a:cubicBezTo>
                      <a:pt x="2880" y="7200"/>
                      <a:pt x="8640" y="3600"/>
                      <a:pt x="17280" y="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69" name="işļïḍé"/>
              <p:cNvSpPr/>
              <p:nvPr/>
            </p:nvSpPr>
            <p:spPr>
              <a:xfrm>
                <a:off x="1819105" y="302361"/>
                <a:ext cx="193703" cy="9632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224" y="16074"/>
                    </a:moveTo>
                    <a:cubicBezTo>
                      <a:pt x="12117" y="16074"/>
                      <a:pt x="10800" y="14567"/>
                      <a:pt x="8693" y="15070"/>
                    </a:cubicBezTo>
                    <a:cubicBezTo>
                      <a:pt x="8166" y="13060"/>
                      <a:pt x="6585" y="14567"/>
                      <a:pt x="5005" y="14567"/>
                    </a:cubicBezTo>
                    <a:cubicBezTo>
                      <a:pt x="3424" y="14567"/>
                      <a:pt x="2898" y="14567"/>
                      <a:pt x="1844" y="12558"/>
                    </a:cubicBezTo>
                    <a:cubicBezTo>
                      <a:pt x="2898" y="10549"/>
                      <a:pt x="3951" y="11051"/>
                      <a:pt x="5268" y="10047"/>
                    </a:cubicBezTo>
                    <a:cubicBezTo>
                      <a:pt x="5005" y="9042"/>
                      <a:pt x="5005" y="8037"/>
                      <a:pt x="5268" y="7535"/>
                    </a:cubicBezTo>
                    <a:cubicBezTo>
                      <a:pt x="2634" y="7535"/>
                      <a:pt x="2107" y="8540"/>
                      <a:pt x="1317" y="7535"/>
                    </a:cubicBezTo>
                    <a:cubicBezTo>
                      <a:pt x="1580" y="7033"/>
                      <a:pt x="1844" y="6028"/>
                      <a:pt x="2107" y="5023"/>
                    </a:cubicBezTo>
                    <a:cubicBezTo>
                      <a:pt x="527" y="5023"/>
                      <a:pt x="0" y="4521"/>
                      <a:pt x="0" y="1507"/>
                    </a:cubicBezTo>
                    <a:cubicBezTo>
                      <a:pt x="1580" y="1507"/>
                      <a:pt x="2371" y="0"/>
                      <a:pt x="3688" y="0"/>
                    </a:cubicBezTo>
                    <a:cubicBezTo>
                      <a:pt x="6322" y="0"/>
                      <a:pt x="6849" y="4019"/>
                      <a:pt x="8166" y="4019"/>
                    </a:cubicBezTo>
                    <a:cubicBezTo>
                      <a:pt x="9220" y="4019"/>
                      <a:pt x="9483" y="2009"/>
                      <a:pt x="10537" y="2009"/>
                    </a:cubicBezTo>
                    <a:cubicBezTo>
                      <a:pt x="12907" y="2009"/>
                      <a:pt x="12644" y="7535"/>
                      <a:pt x="13961" y="7535"/>
                    </a:cubicBezTo>
                    <a:cubicBezTo>
                      <a:pt x="14751" y="7535"/>
                      <a:pt x="15015" y="5526"/>
                      <a:pt x="15805" y="5526"/>
                    </a:cubicBezTo>
                    <a:cubicBezTo>
                      <a:pt x="17385" y="5526"/>
                      <a:pt x="18702" y="9544"/>
                      <a:pt x="19229" y="10549"/>
                    </a:cubicBezTo>
                    <a:cubicBezTo>
                      <a:pt x="18966" y="11051"/>
                      <a:pt x="18439" y="12056"/>
                      <a:pt x="18439" y="13060"/>
                    </a:cubicBezTo>
                    <a:cubicBezTo>
                      <a:pt x="19229" y="14567"/>
                      <a:pt x="21600" y="16577"/>
                      <a:pt x="21600" y="18586"/>
                    </a:cubicBezTo>
                    <a:cubicBezTo>
                      <a:pt x="21600" y="21098"/>
                      <a:pt x="20283" y="21600"/>
                      <a:pt x="19493" y="21600"/>
                    </a:cubicBezTo>
                    <a:cubicBezTo>
                      <a:pt x="16595" y="21600"/>
                      <a:pt x="16859" y="16074"/>
                      <a:pt x="14224" y="16074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70" name="îŝḷîḑè"/>
              <p:cNvSpPr/>
              <p:nvPr/>
            </p:nvSpPr>
            <p:spPr>
              <a:xfrm>
                <a:off x="1906735" y="385311"/>
                <a:ext cx="41505" cy="1605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6808" h="21600" extrusionOk="0">
                    <a:moveTo>
                      <a:pt x="2721" y="21600"/>
                    </a:moveTo>
                    <a:cubicBezTo>
                      <a:pt x="-4792" y="21600"/>
                      <a:pt x="5538" y="0"/>
                      <a:pt x="6478" y="0"/>
                    </a:cubicBezTo>
                    <a:cubicBezTo>
                      <a:pt x="11173" y="0"/>
                      <a:pt x="13051" y="9257"/>
                      <a:pt x="16808" y="12343"/>
                    </a:cubicBezTo>
                    <a:cubicBezTo>
                      <a:pt x="13991" y="21600"/>
                      <a:pt x="9295" y="21600"/>
                      <a:pt x="2721" y="2160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71" name="iṧļîḋe"/>
              <p:cNvSpPr/>
              <p:nvPr/>
            </p:nvSpPr>
            <p:spPr>
              <a:xfrm>
                <a:off x="2085794" y="444179"/>
                <a:ext cx="508116" cy="15027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282" extrusionOk="0">
                    <a:moveTo>
                      <a:pt x="21500" y="14294"/>
                    </a:moveTo>
                    <a:cubicBezTo>
                      <a:pt x="21300" y="14612"/>
                      <a:pt x="21100" y="15247"/>
                      <a:pt x="21000" y="16200"/>
                    </a:cubicBezTo>
                    <a:cubicBezTo>
                      <a:pt x="21300" y="16518"/>
                      <a:pt x="21600" y="16518"/>
                      <a:pt x="21600" y="16518"/>
                    </a:cubicBezTo>
                    <a:cubicBezTo>
                      <a:pt x="21500" y="21282"/>
                      <a:pt x="19500" y="21282"/>
                      <a:pt x="17900" y="21282"/>
                    </a:cubicBezTo>
                    <a:cubicBezTo>
                      <a:pt x="17400" y="21282"/>
                      <a:pt x="17100" y="20329"/>
                      <a:pt x="17000" y="19059"/>
                    </a:cubicBezTo>
                    <a:cubicBezTo>
                      <a:pt x="16400" y="19376"/>
                      <a:pt x="16300" y="20329"/>
                      <a:pt x="15900" y="20965"/>
                    </a:cubicBezTo>
                    <a:cubicBezTo>
                      <a:pt x="12400" y="20965"/>
                      <a:pt x="12400" y="20965"/>
                      <a:pt x="12400" y="20965"/>
                    </a:cubicBezTo>
                    <a:cubicBezTo>
                      <a:pt x="11500" y="21600"/>
                      <a:pt x="10100" y="21282"/>
                      <a:pt x="10200" y="19059"/>
                    </a:cubicBezTo>
                    <a:cubicBezTo>
                      <a:pt x="9700" y="19059"/>
                      <a:pt x="9700" y="19059"/>
                      <a:pt x="9700" y="19059"/>
                    </a:cubicBezTo>
                    <a:cubicBezTo>
                      <a:pt x="9500" y="19694"/>
                      <a:pt x="8800" y="21282"/>
                      <a:pt x="8400" y="21282"/>
                    </a:cubicBezTo>
                    <a:cubicBezTo>
                      <a:pt x="7500" y="21282"/>
                      <a:pt x="5300" y="17788"/>
                      <a:pt x="5300" y="14929"/>
                    </a:cubicBezTo>
                    <a:cubicBezTo>
                      <a:pt x="5300" y="13976"/>
                      <a:pt x="5600" y="13024"/>
                      <a:pt x="5800" y="12706"/>
                    </a:cubicBezTo>
                    <a:cubicBezTo>
                      <a:pt x="5000" y="10165"/>
                      <a:pt x="4800" y="7941"/>
                      <a:pt x="4000" y="5718"/>
                    </a:cubicBezTo>
                    <a:cubicBezTo>
                      <a:pt x="3800" y="6353"/>
                      <a:pt x="3500" y="6988"/>
                      <a:pt x="3200" y="6988"/>
                    </a:cubicBezTo>
                    <a:cubicBezTo>
                      <a:pt x="2700" y="6988"/>
                      <a:pt x="0" y="3494"/>
                      <a:pt x="0" y="2224"/>
                    </a:cubicBezTo>
                    <a:cubicBezTo>
                      <a:pt x="0" y="0"/>
                      <a:pt x="800" y="0"/>
                      <a:pt x="1300" y="0"/>
                    </a:cubicBezTo>
                    <a:cubicBezTo>
                      <a:pt x="3300" y="0"/>
                      <a:pt x="3600" y="4765"/>
                      <a:pt x="5100" y="4765"/>
                    </a:cubicBezTo>
                    <a:cubicBezTo>
                      <a:pt x="5600" y="4765"/>
                      <a:pt x="5800" y="4765"/>
                      <a:pt x="6000" y="3812"/>
                    </a:cubicBezTo>
                    <a:cubicBezTo>
                      <a:pt x="6300" y="3812"/>
                      <a:pt x="6800" y="3812"/>
                      <a:pt x="6800" y="3812"/>
                    </a:cubicBezTo>
                    <a:cubicBezTo>
                      <a:pt x="6500" y="6988"/>
                      <a:pt x="8500" y="6035"/>
                      <a:pt x="8900" y="7941"/>
                    </a:cubicBezTo>
                    <a:cubicBezTo>
                      <a:pt x="7100" y="7941"/>
                      <a:pt x="7100" y="7941"/>
                      <a:pt x="7100" y="7941"/>
                    </a:cubicBezTo>
                    <a:cubicBezTo>
                      <a:pt x="7400" y="11753"/>
                      <a:pt x="8500" y="9529"/>
                      <a:pt x="9100" y="11118"/>
                    </a:cubicBezTo>
                    <a:cubicBezTo>
                      <a:pt x="9000" y="11435"/>
                      <a:pt x="8800" y="11435"/>
                      <a:pt x="8800" y="12071"/>
                    </a:cubicBezTo>
                    <a:cubicBezTo>
                      <a:pt x="8800" y="13976"/>
                      <a:pt x="9300" y="13024"/>
                      <a:pt x="9500" y="12706"/>
                    </a:cubicBezTo>
                    <a:cubicBezTo>
                      <a:pt x="10600" y="13341"/>
                      <a:pt x="11400" y="14294"/>
                      <a:pt x="12500" y="14294"/>
                    </a:cubicBezTo>
                    <a:cubicBezTo>
                      <a:pt x="15000" y="14294"/>
                      <a:pt x="15800" y="10800"/>
                      <a:pt x="18100" y="10800"/>
                    </a:cubicBezTo>
                    <a:cubicBezTo>
                      <a:pt x="19800" y="10800"/>
                      <a:pt x="21000" y="11118"/>
                      <a:pt x="21600" y="14612"/>
                    </a:cubicBezTo>
                    <a:cubicBezTo>
                      <a:pt x="21500" y="14929"/>
                      <a:pt x="21300" y="14929"/>
                      <a:pt x="21100" y="14929"/>
                    </a:cubicBezTo>
                    <a:lnTo>
                      <a:pt x="21500" y="14294"/>
                    </a:ln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72" name="îṥľîḍê"/>
              <p:cNvSpPr/>
              <p:nvPr/>
            </p:nvSpPr>
            <p:spPr>
              <a:xfrm>
                <a:off x="2091408" y="524453"/>
                <a:ext cx="87027" cy="6422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3503" y="7448"/>
                    </a:moveTo>
                    <a:cubicBezTo>
                      <a:pt x="5838" y="7448"/>
                      <a:pt x="5254" y="0"/>
                      <a:pt x="11092" y="0"/>
                    </a:cubicBezTo>
                    <a:cubicBezTo>
                      <a:pt x="15762" y="0"/>
                      <a:pt x="21600" y="6703"/>
                      <a:pt x="21600" y="11172"/>
                    </a:cubicBezTo>
                    <a:cubicBezTo>
                      <a:pt x="21600" y="16386"/>
                      <a:pt x="20432" y="21600"/>
                      <a:pt x="16930" y="21600"/>
                    </a:cubicBezTo>
                    <a:cubicBezTo>
                      <a:pt x="14595" y="21600"/>
                      <a:pt x="0" y="12662"/>
                      <a:pt x="0" y="12662"/>
                    </a:cubicBezTo>
                    <a:cubicBezTo>
                      <a:pt x="0" y="9683"/>
                      <a:pt x="2919" y="7448"/>
                      <a:pt x="3503" y="7448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73" name="ïšḷïďe"/>
              <p:cNvSpPr/>
              <p:nvPr/>
            </p:nvSpPr>
            <p:spPr>
              <a:xfrm>
                <a:off x="2102638" y="401366"/>
                <a:ext cx="81412" cy="2140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897" y="0"/>
                    </a:moveTo>
                    <a:cubicBezTo>
                      <a:pt x="20983" y="0"/>
                      <a:pt x="18514" y="2160"/>
                      <a:pt x="21600" y="0"/>
                    </a:cubicBezTo>
                    <a:cubicBezTo>
                      <a:pt x="21600" y="6480"/>
                      <a:pt x="21600" y="10800"/>
                      <a:pt x="21600" y="12960"/>
                    </a:cubicBezTo>
                    <a:cubicBezTo>
                      <a:pt x="21600" y="17280"/>
                      <a:pt x="19749" y="21600"/>
                      <a:pt x="17280" y="21600"/>
                    </a:cubicBezTo>
                    <a:cubicBezTo>
                      <a:pt x="16046" y="21600"/>
                      <a:pt x="0" y="10800"/>
                      <a:pt x="0" y="10800"/>
                    </a:cubicBezTo>
                    <a:cubicBezTo>
                      <a:pt x="3086" y="2160"/>
                      <a:pt x="12960" y="0"/>
                      <a:pt x="17897" y="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74" name="ïśḻiḑê"/>
              <p:cNvSpPr/>
              <p:nvPr/>
            </p:nvSpPr>
            <p:spPr>
              <a:xfrm>
                <a:off x="2040878" y="326444"/>
                <a:ext cx="95448" cy="7048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0321" extrusionOk="0">
                    <a:moveTo>
                      <a:pt x="5268" y="18327"/>
                    </a:moveTo>
                    <a:cubicBezTo>
                      <a:pt x="5268" y="17018"/>
                      <a:pt x="6849" y="15709"/>
                      <a:pt x="7376" y="15055"/>
                    </a:cubicBezTo>
                    <a:cubicBezTo>
                      <a:pt x="4741" y="11782"/>
                      <a:pt x="0" y="9818"/>
                      <a:pt x="0" y="4582"/>
                    </a:cubicBezTo>
                    <a:cubicBezTo>
                      <a:pt x="0" y="1309"/>
                      <a:pt x="3161" y="0"/>
                      <a:pt x="5268" y="0"/>
                    </a:cubicBezTo>
                    <a:cubicBezTo>
                      <a:pt x="5795" y="2618"/>
                      <a:pt x="11063" y="4582"/>
                      <a:pt x="13171" y="4582"/>
                    </a:cubicBezTo>
                    <a:cubicBezTo>
                      <a:pt x="13171" y="11127"/>
                      <a:pt x="21600" y="4582"/>
                      <a:pt x="21600" y="11127"/>
                    </a:cubicBezTo>
                    <a:cubicBezTo>
                      <a:pt x="21600" y="13091"/>
                      <a:pt x="20546" y="15055"/>
                      <a:pt x="21600" y="18327"/>
                    </a:cubicBezTo>
                    <a:cubicBezTo>
                      <a:pt x="13171" y="20291"/>
                      <a:pt x="5268" y="21600"/>
                      <a:pt x="5268" y="18327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75" name="íṡḷiḍê"/>
              <p:cNvSpPr/>
              <p:nvPr/>
            </p:nvSpPr>
            <p:spPr>
              <a:xfrm>
                <a:off x="2004384" y="259548"/>
                <a:ext cx="36497" cy="2140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0"/>
                    </a:moveTo>
                    <a:cubicBezTo>
                      <a:pt x="21600" y="21600"/>
                      <a:pt x="21600" y="21600"/>
                      <a:pt x="21600" y="21600"/>
                    </a:cubicBezTo>
                    <a:cubicBezTo>
                      <a:pt x="10800" y="21600"/>
                      <a:pt x="10800" y="21600"/>
                      <a:pt x="10800" y="21600"/>
                    </a:cubicBezTo>
                    <a:cubicBezTo>
                      <a:pt x="8100" y="16800"/>
                      <a:pt x="0" y="14400"/>
                      <a:pt x="0" y="0"/>
                    </a:cubicBezTo>
                    <a:cubicBezTo>
                      <a:pt x="8100" y="0"/>
                      <a:pt x="17550" y="0"/>
                      <a:pt x="21600" y="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76" name="îṣľïdè"/>
              <p:cNvSpPr/>
              <p:nvPr/>
            </p:nvSpPr>
            <p:spPr>
              <a:xfrm>
                <a:off x="2105446" y="171247"/>
                <a:ext cx="323873" cy="20871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483" h="21600" extrusionOk="0">
                    <a:moveTo>
                      <a:pt x="14400" y="8687"/>
                    </a:moveTo>
                    <a:cubicBezTo>
                      <a:pt x="15183" y="8687"/>
                      <a:pt x="15183" y="8687"/>
                      <a:pt x="15183" y="8687"/>
                    </a:cubicBezTo>
                    <a:cubicBezTo>
                      <a:pt x="15183" y="7513"/>
                      <a:pt x="15183" y="7513"/>
                      <a:pt x="15183" y="7513"/>
                    </a:cubicBezTo>
                    <a:cubicBezTo>
                      <a:pt x="14870" y="6574"/>
                      <a:pt x="14870" y="6574"/>
                      <a:pt x="14870" y="6574"/>
                    </a:cubicBezTo>
                    <a:cubicBezTo>
                      <a:pt x="15183" y="6574"/>
                      <a:pt x="15339" y="6574"/>
                      <a:pt x="15652" y="6574"/>
                    </a:cubicBezTo>
                    <a:cubicBezTo>
                      <a:pt x="16591" y="6574"/>
                      <a:pt x="16435" y="7278"/>
                      <a:pt x="16435" y="8452"/>
                    </a:cubicBezTo>
                    <a:cubicBezTo>
                      <a:pt x="16435" y="9157"/>
                      <a:pt x="17374" y="9157"/>
                      <a:pt x="17374" y="10096"/>
                    </a:cubicBezTo>
                    <a:cubicBezTo>
                      <a:pt x="17374" y="10800"/>
                      <a:pt x="16904" y="10800"/>
                      <a:pt x="16904" y="11504"/>
                    </a:cubicBezTo>
                    <a:cubicBezTo>
                      <a:pt x="16904" y="12443"/>
                      <a:pt x="17843" y="11504"/>
                      <a:pt x="18000" y="11504"/>
                    </a:cubicBezTo>
                    <a:cubicBezTo>
                      <a:pt x="18783" y="11504"/>
                      <a:pt x="20504" y="12678"/>
                      <a:pt x="21443" y="12913"/>
                    </a:cubicBezTo>
                    <a:cubicBezTo>
                      <a:pt x="21443" y="13617"/>
                      <a:pt x="21600" y="14087"/>
                      <a:pt x="21287" y="14322"/>
                    </a:cubicBezTo>
                    <a:cubicBezTo>
                      <a:pt x="21130" y="15026"/>
                      <a:pt x="20348" y="14791"/>
                      <a:pt x="19722" y="15026"/>
                    </a:cubicBezTo>
                    <a:cubicBezTo>
                      <a:pt x="18313" y="15261"/>
                      <a:pt x="17374" y="18313"/>
                      <a:pt x="16435" y="18313"/>
                    </a:cubicBezTo>
                    <a:cubicBezTo>
                      <a:pt x="15652" y="18313"/>
                      <a:pt x="15652" y="17374"/>
                      <a:pt x="15339" y="16200"/>
                    </a:cubicBezTo>
                    <a:cubicBezTo>
                      <a:pt x="15026" y="16670"/>
                      <a:pt x="14870" y="17139"/>
                      <a:pt x="14557" y="17843"/>
                    </a:cubicBezTo>
                    <a:cubicBezTo>
                      <a:pt x="15026" y="18783"/>
                      <a:pt x="15183" y="19017"/>
                      <a:pt x="15496" y="19722"/>
                    </a:cubicBezTo>
                    <a:cubicBezTo>
                      <a:pt x="14243" y="19722"/>
                      <a:pt x="14243" y="19722"/>
                      <a:pt x="14243" y="19722"/>
                    </a:cubicBezTo>
                    <a:cubicBezTo>
                      <a:pt x="14243" y="21130"/>
                      <a:pt x="14243" y="21130"/>
                      <a:pt x="14243" y="21130"/>
                    </a:cubicBezTo>
                    <a:cubicBezTo>
                      <a:pt x="13617" y="21365"/>
                      <a:pt x="12365" y="19957"/>
                      <a:pt x="11739" y="19252"/>
                    </a:cubicBezTo>
                    <a:cubicBezTo>
                      <a:pt x="11739" y="21130"/>
                      <a:pt x="11113" y="21600"/>
                      <a:pt x="10017" y="21600"/>
                    </a:cubicBezTo>
                    <a:cubicBezTo>
                      <a:pt x="8922" y="21600"/>
                      <a:pt x="7513" y="21365"/>
                      <a:pt x="7357" y="19722"/>
                    </a:cubicBezTo>
                    <a:cubicBezTo>
                      <a:pt x="7826" y="19722"/>
                      <a:pt x="7983" y="19487"/>
                      <a:pt x="8296" y="19017"/>
                    </a:cubicBezTo>
                    <a:cubicBezTo>
                      <a:pt x="7043" y="19017"/>
                      <a:pt x="5165" y="18078"/>
                      <a:pt x="5165" y="16435"/>
                    </a:cubicBezTo>
                    <a:cubicBezTo>
                      <a:pt x="5165" y="14557"/>
                      <a:pt x="9391" y="14791"/>
                      <a:pt x="10330" y="14322"/>
                    </a:cubicBezTo>
                    <a:cubicBezTo>
                      <a:pt x="9391" y="14087"/>
                      <a:pt x="8609" y="13617"/>
                      <a:pt x="7513" y="13617"/>
                    </a:cubicBezTo>
                    <a:cubicBezTo>
                      <a:pt x="6417" y="13617"/>
                      <a:pt x="6261" y="14322"/>
                      <a:pt x="5478" y="14322"/>
                    </a:cubicBezTo>
                    <a:cubicBezTo>
                      <a:pt x="4696" y="14322"/>
                      <a:pt x="4696" y="13617"/>
                      <a:pt x="4539" y="13148"/>
                    </a:cubicBezTo>
                    <a:cubicBezTo>
                      <a:pt x="3757" y="13617"/>
                      <a:pt x="3600" y="13852"/>
                      <a:pt x="2974" y="13852"/>
                    </a:cubicBezTo>
                    <a:cubicBezTo>
                      <a:pt x="2504" y="13852"/>
                      <a:pt x="2504" y="13617"/>
                      <a:pt x="2504" y="12913"/>
                    </a:cubicBezTo>
                    <a:cubicBezTo>
                      <a:pt x="3130" y="12443"/>
                      <a:pt x="3600" y="12443"/>
                      <a:pt x="4070" y="11504"/>
                    </a:cubicBezTo>
                    <a:cubicBezTo>
                      <a:pt x="1722" y="11504"/>
                      <a:pt x="313" y="11270"/>
                      <a:pt x="0" y="8217"/>
                    </a:cubicBezTo>
                    <a:cubicBezTo>
                      <a:pt x="1096" y="8217"/>
                      <a:pt x="1096" y="8217"/>
                      <a:pt x="1096" y="8217"/>
                    </a:cubicBezTo>
                    <a:cubicBezTo>
                      <a:pt x="1409" y="8687"/>
                      <a:pt x="2504" y="9157"/>
                      <a:pt x="3130" y="9157"/>
                    </a:cubicBezTo>
                    <a:cubicBezTo>
                      <a:pt x="3443" y="9157"/>
                      <a:pt x="3757" y="8452"/>
                      <a:pt x="3757" y="8452"/>
                    </a:cubicBezTo>
                    <a:cubicBezTo>
                      <a:pt x="2974" y="7983"/>
                      <a:pt x="783" y="7278"/>
                      <a:pt x="783" y="6104"/>
                    </a:cubicBezTo>
                    <a:cubicBezTo>
                      <a:pt x="783" y="4930"/>
                      <a:pt x="1722" y="5165"/>
                      <a:pt x="2348" y="5165"/>
                    </a:cubicBezTo>
                    <a:cubicBezTo>
                      <a:pt x="3287" y="5165"/>
                      <a:pt x="3600" y="5870"/>
                      <a:pt x="4226" y="5870"/>
                    </a:cubicBezTo>
                    <a:cubicBezTo>
                      <a:pt x="4696" y="5870"/>
                      <a:pt x="4696" y="5165"/>
                      <a:pt x="5009" y="4696"/>
                    </a:cubicBezTo>
                    <a:cubicBezTo>
                      <a:pt x="4226" y="4226"/>
                      <a:pt x="3443" y="4696"/>
                      <a:pt x="2974" y="4696"/>
                    </a:cubicBezTo>
                    <a:cubicBezTo>
                      <a:pt x="2817" y="4696"/>
                      <a:pt x="2191" y="3287"/>
                      <a:pt x="2191" y="3052"/>
                    </a:cubicBezTo>
                    <a:cubicBezTo>
                      <a:pt x="2974" y="2348"/>
                      <a:pt x="3600" y="1878"/>
                      <a:pt x="4696" y="2113"/>
                    </a:cubicBezTo>
                    <a:cubicBezTo>
                      <a:pt x="5948" y="2113"/>
                      <a:pt x="5948" y="2113"/>
                      <a:pt x="5948" y="2113"/>
                    </a:cubicBezTo>
                    <a:cubicBezTo>
                      <a:pt x="5165" y="1643"/>
                      <a:pt x="3913" y="1409"/>
                      <a:pt x="3913" y="0"/>
                    </a:cubicBezTo>
                    <a:cubicBezTo>
                      <a:pt x="5635" y="235"/>
                      <a:pt x="7043" y="470"/>
                      <a:pt x="8296" y="1174"/>
                    </a:cubicBezTo>
                    <a:cubicBezTo>
                      <a:pt x="9548" y="2113"/>
                      <a:pt x="9391" y="4930"/>
                      <a:pt x="10487" y="5635"/>
                    </a:cubicBezTo>
                    <a:cubicBezTo>
                      <a:pt x="11426" y="6339"/>
                      <a:pt x="12209" y="5165"/>
                      <a:pt x="13148" y="5870"/>
                    </a:cubicBezTo>
                    <a:cubicBezTo>
                      <a:pt x="14243" y="6574"/>
                      <a:pt x="13774" y="7748"/>
                      <a:pt x="14400" y="8687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77" name="îṣḻïdè"/>
              <p:cNvSpPr/>
              <p:nvPr/>
            </p:nvSpPr>
            <p:spPr>
              <a:xfrm>
                <a:off x="2369328" y="1035529"/>
                <a:ext cx="207739" cy="12576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56" y="14779"/>
                    </a:moveTo>
                    <a:cubicBezTo>
                      <a:pt x="2184" y="14021"/>
                      <a:pt x="2670" y="13642"/>
                      <a:pt x="2670" y="12505"/>
                    </a:cubicBezTo>
                    <a:cubicBezTo>
                      <a:pt x="2670" y="10989"/>
                      <a:pt x="2670" y="11747"/>
                      <a:pt x="2670" y="10232"/>
                    </a:cubicBezTo>
                    <a:cubicBezTo>
                      <a:pt x="2670" y="7200"/>
                      <a:pt x="3155" y="758"/>
                      <a:pt x="6067" y="0"/>
                    </a:cubicBezTo>
                    <a:cubicBezTo>
                      <a:pt x="6796" y="2653"/>
                      <a:pt x="7281" y="3032"/>
                      <a:pt x="7766" y="4926"/>
                    </a:cubicBezTo>
                    <a:cubicBezTo>
                      <a:pt x="8009" y="4168"/>
                      <a:pt x="8494" y="3789"/>
                      <a:pt x="8737" y="3411"/>
                    </a:cubicBezTo>
                    <a:cubicBezTo>
                      <a:pt x="10921" y="7958"/>
                      <a:pt x="14319" y="6063"/>
                      <a:pt x="16261" y="10232"/>
                    </a:cubicBezTo>
                    <a:cubicBezTo>
                      <a:pt x="16746" y="11368"/>
                      <a:pt x="16503" y="12505"/>
                      <a:pt x="16989" y="13263"/>
                    </a:cubicBezTo>
                    <a:cubicBezTo>
                      <a:pt x="18688" y="15158"/>
                      <a:pt x="20629" y="14400"/>
                      <a:pt x="21600" y="16295"/>
                    </a:cubicBezTo>
                    <a:cubicBezTo>
                      <a:pt x="20387" y="17432"/>
                      <a:pt x="19416" y="18189"/>
                      <a:pt x="18202" y="18189"/>
                    </a:cubicBezTo>
                    <a:cubicBezTo>
                      <a:pt x="16746" y="18189"/>
                      <a:pt x="16261" y="18189"/>
                      <a:pt x="15290" y="18189"/>
                    </a:cubicBezTo>
                    <a:cubicBezTo>
                      <a:pt x="15290" y="18189"/>
                      <a:pt x="11892" y="14400"/>
                      <a:pt x="11164" y="14021"/>
                    </a:cubicBezTo>
                    <a:cubicBezTo>
                      <a:pt x="11164" y="17811"/>
                      <a:pt x="7524" y="21221"/>
                      <a:pt x="6067" y="20084"/>
                    </a:cubicBezTo>
                    <a:cubicBezTo>
                      <a:pt x="5825" y="20842"/>
                      <a:pt x="5825" y="21600"/>
                      <a:pt x="5339" y="21600"/>
                    </a:cubicBezTo>
                    <a:cubicBezTo>
                      <a:pt x="3883" y="21600"/>
                      <a:pt x="4369" y="19705"/>
                      <a:pt x="4611" y="18189"/>
                    </a:cubicBezTo>
                    <a:cubicBezTo>
                      <a:pt x="2912" y="17432"/>
                      <a:pt x="728" y="18189"/>
                      <a:pt x="0" y="18189"/>
                    </a:cubicBezTo>
                    <a:cubicBezTo>
                      <a:pt x="0" y="15158"/>
                      <a:pt x="1213" y="15537"/>
                      <a:pt x="1456" y="14779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78" name="íṣļîdé"/>
              <p:cNvSpPr/>
              <p:nvPr/>
            </p:nvSpPr>
            <p:spPr>
              <a:xfrm>
                <a:off x="2666898" y="922076"/>
                <a:ext cx="64569" cy="492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17280" extrusionOk="0">
                    <a:moveTo>
                      <a:pt x="21600" y="9566"/>
                    </a:moveTo>
                    <a:cubicBezTo>
                      <a:pt x="21600" y="14194"/>
                      <a:pt x="12800" y="17280"/>
                      <a:pt x="8800" y="17280"/>
                    </a:cubicBezTo>
                    <a:cubicBezTo>
                      <a:pt x="3200" y="17280"/>
                      <a:pt x="0" y="13423"/>
                      <a:pt x="0" y="9566"/>
                    </a:cubicBezTo>
                    <a:cubicBezTo>
                      <a:pt x="0" y="-4320"/>
                      <a:pt x="21600" y="-2006"/>
                      <a:pt x="21600" y="9566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79" name="îŝḷîḓè"/>
              <p:cNvSpPr/>
              <p:nvPr/>
            </p:nvSpPr>
            <p:spPr>
              <a:xfrm>
                <a:off x="2473196" y="1167541"/>
                <a:ext cx="53340" cy="3924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118" extrusionOk="0">
                    <a:moveTo>
                      <a:pt x="9818" y="718"/>
                    </a:moveTo>
                    <a:cubicBezTo>
                      <a:pt x="18655" y="-482"/>
                      <a:pt x="16691" y="-482"/>
                      <a:pt x="21600" y="3118"/>
                    </a:cubicBezTo>
                    <a:cubicBezTo>
                      <a:pt x="17673" y="9118"/>
                      <a:pt x="6873" y="19918"/>
                      <a:pt x="0" y="21118"/>
                    </a:cubicBezTo>
                    <a:cubicBezTo>
                      <a:pt x="0" y="13918"/>
                      <a:pt x="0" y="13918"/>
                      <a:pt x="0" y="13918"/>
                    </a:cubicBezTo>
                    <a:cubicBezTo>
                      <a:pt x="3927" y="7918"/>
                      <a:pt x="8836" y="4318"/>
                      <a:pt x="9818" y="718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80" name="îšlïdê"/>
              <p:cNvSpPr/>
              <p:nvPr/>
            </p:nvSpPr>
            <p:spPr>
              <a:xfrm>
                <a:off x="2557414" y="634160"/>
                <a:ext cx="140364" cy="5619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7920" y="21600"/>
                    </a:moveTo>
                    <a:cubicBezTo>
                      <a:pt x="5040" y="21600"/>
                      <a:pt x="2160" y="19872"/>
                      <a:pt x="3240" y="13824"/>
                    </a:cubicBezTo>
                    <a:cubicBezTo>
                      <a:pt x="1800" y="11232"/>
                      <a:pt x="0" y="9504"/>
                      <a:pt x="0" y="5184"/>
                    </a:cubicBezTo>
                    <a:cubicBezTo>
                      <a:pt x="0" y="1728"/>
                      <a:pt x="1440" y="0"/>
                      <a:pt x="2880" y="0"/>
                    </a:cubicBezTo>
                    <a:cubicBezTo>
                      <a:pt x="6480" y="0"/>
                      <a:pt x="7560" y="2592"/>
                      <a:pt x="10800" y="2592"/>
                    </a:cubicBezTo>
                    <a:cubicBezTo>
                      <a:pt x="15120" y="2592"/>
                      <a:pt x="18720" y="11232"/>
                      <a:pt x="21600" y="14688"/>
                    </a:cubicBezTo>
                    <a:cubicBezTo>
                      <a:pt x="21240" y="18144"/>
                      <a:pt x="20160" y="20736"/>
                      <a:pt x="18720" y="20736"/>
                    </a:cubicBezTo>
                    <a:cubicBezTo>
                      <a:pt x="16560" y="20736"/>
                      <a:pt x="15840" y="18144"/>
                      <a:pt x="14040" y="18144"/>
                    </a:cubicBezTo>
                    <a:cubicBezTo>
                      <a:pt x="12240" y="18144"/>
                      <a:pt x="10800" y="21600"/>
                      <a:pt x="7920" y="2160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81" name="íṩlîďé"/>
              <p:cNvSpPr/>
              <p:nvPr/>
            </p:nvSpPr>
            <p:spPr>
              <a:xfrm>
                <a:off x="2571451" y="1195695"/>
                <a:ext cx="30882" cy="298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18514" extrusionOk="0">
                    <a:moveTo>
                      <a:pt x="21600" y="5554"/>
                    </a:moveTo>
                    <a:cubicBezTo>
                      <a:pt x="18514" y="9874"/>
                      <a:pt x="16971" y="18514"/>
                      <a:pt x="9257" y="18514"/>
                    </a:cubicBezTo>
                    <a:cubicBezTo>
                      <a:pt x="7714" y="18514"/>
                      <a:pt x="0" y="9874"/>
                      <a:pt x="0" y="9874"/>
                    </a:cubicBezTo>
                    <a:cubicBezTo>
                      <a:pt x="0" y="-1646"/>
                      <a:pt x="15429" y="-3086"/>
                      <a:pt x="21600" y="5554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82" name="íşḷíḋè"/>
              <p:cNvSpPr/>
              <p:nvPr/>
            </p:nvSpPr>
            <p:spPr>
              <a:xfrm>
                <a:off x="2742693" y="925823"/>
                <a:ext cx="33688" cy="1873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7714" y="21600"/>
                    </a:moveTo>
                    <a:cubicBezTo>
                      <a:pt x="3086" y="21600"/>
                      <a:pt x="0" y="18900"/>
                      <a:pt x="0" y="10800"/>
                    </a:cubicBezTo>
                    <a:cubicBezTo>
                      <a:pt x="0" y="8100"/>
                      <a:pt x="6171" y="0"/>
                      <a:pt x="7714" y="0"/>
                    </a:cubicBezTo>
                    <a:cubicBezTo>
                      <a:pt x="13886" y="0"/>
                      <a:pt x="20057" y="13500"/>
                      <a:pt x="21600" y="18900"/>
                    </a:cubicBezTo>
                    <a:cubicBezTo>
                      <a:pt x="12343" y="21600"/>
                      <a:pt x="15429" y="21600"/>
                      <a:pt x="7714" y="2160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83" name="iş1îďe"/>
              <p:cNvSpPr/>
              <p:nvPr/>
            </p:nvSpPr>
            <p:spPr>
              <a:xfrm>
                <a:off x="2602759" y="869630"/>
                <a:ext cx="27646" cy="2140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6362" h="21600" extrusionOk="0">
                    <a:moveTo>
                      <a:pt x="1962" y="21600"/>
                    </a:moveTo>
                    <a:cubicBezTo>
                      <a:pt x="-5238" y="21600"/>
                      <a:pt x="9162" y="0"/>
                      <a:pt x="16362" y="0"/>
                    </a:cubicBezTo>
                    <a:cubicBezTo>
                      <a:pt x="14922" y="12960"/>
                      <a:pt x="9162" y="21600"/>
                      <a:pt x="1962" y="2160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84" name="iṧliḍé"/>
              <p:cNvSpPr/>
              <p:nvPr/>
            </p:nvSpPr>
            <p:spPr>
              <a:xfrm>
                <a:off x="2282302" y="631485"/>
                <a:ext cx="853409" cy="58600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228" y="15228"/>
                    </a:moveTo>
                    <a:cubicBezTo>
                      <a:pt x="20228" y="15641"/>
                      <a:pt x="20168" y="16221"/>
                      <a:pt x="19870" y="16221"/>
                    </a:cubicBezTo>
                    <a:cubicBezTo>
                      <a:pt x="18557" y="16221"/>
                      <a:pt x="18557" y="13738"/>
                      <a:pt x="17244" y="13738"/>
                    </a:cubicBezTo>
                    <a:cubicBezTo>
                      <a:pt x="17125" y="13738"/>
                      <a:pt x="16767" y="14152"/>
                      <a:pt x="16767" y="14152"/>
                    </a:cubicBezTo>
                    <a:cubicBezTo>
                      <a:pt x="16946" y="14317"/>
                      <a:pt x="17006" y="14317"/>
                      <a:pt x="17244" y="14234"/>
                    </a:cubicBezTo>
                    <a:cubicBezTo>
                      <a:pt x="17244" y="14648"/>
                      <a:pt x="17244" y="14648"/>
                      <a:pt x="17244" y="14648"/>
                    </a:cubicBezTo>
                    <a:cubicBezTo>
                      <a:pt x="17125" y="14731"/>
                      <a:pt x="16946" y="14731"/>
                      <a:pt x="16886" y="14648"/>
                    </a:cubicBezTo>
                    <a:cubicBezTo>
                      <a:pt x="16886" y="15228"/>
                      <a:pt x="16886" y="15228"/>
                      <a:pt x="16886" y="15228"/>
                    </a:cubicBezTo>
                    <a:cubicBezTo>
                      <a:pt x="17185" y="15228"/>
                      <a:pt x="17185" y="15228"/>
                      <a:pt x="17185" y="15228"/>
                    </a:cubicBezTo>
                    <a:cubicBezTo>
                      <a:pt x="17244" y="15641"/>
                      <a:pt x="17602" y="16469"/>
                      <a:pt x="17781" y="16634"/>
                    </a:cubicBezTo>
                    <a:cubicBezTo>
                      <a:pt x="18318" y="16883"/>
                      <a:pt x="18497" y="16386"/>
                      <a:pt x="18557" y="17048"/>
                    </a:cubicBezTo>
                    <a:cubicBezTo>
                      <a:pt x="18796" y="17048"/>
                      <a:pt x="18796" y="17048"/>
                      <a:pt x="18975" y="17048"/>
                    </a:cubicBezTo>
                    <a:cubicBezTo>
                      <a:pt x="18975" y="17628"/>
                      <a:pt x="18975" y="17628"/>
                      <a:pt x="18975" y="17793"/>
                    </a:cubicBezTo>
                    <a:cubicBezTo>
                      <a:pt x="18975" y="18041"/>
                      <a:pt x="19452" y="18207"/>
                      <a:pt x="19452" y="18621"/>
                    </a:cubicBezTo>
                    <a:cubicBezTo>
                      <a:pt x="19452" y="18952"/>
                      <a:pt x="19154" y="19697"/>
                      <a:pt x="19034" y="20028"/>
                    </a:cubicBezTo>
                    <a:cubicBezTo>
                      <a:pt x="18557" y="20028"/>
                      <a:pt x="16886" y="19117"/>
                      <a:pt x="16588" y="18621"/>
                    </a:cubicBezTo>
                    <a:cubicBezTo>
                      <a:pt x="16230" y="18621"/>
                      <a:pt x="16230" y="18621"/>
                      <a:pt x="16230" y="18621"/>
                    </a:cubicBezTo>
                    <a:cubicBezTo>
                      <a:pt x="16648" y="19366"/>
                      <a:pt x="18139" y="20110"/>
                      <a:pt x="18139" y="21186"/>
                    </a:cubicBezTo>
                    <a:cubicBezTo>
                      <a:pt x="18139" y="21434"/>
                      <a:pt x="17960" y="21600"/>
                      <a:pt x="17841" y="21600"/>
                    </a:cubicBezTo>
                    <a:cubicBezTo>
                      <a:pt x="17722" y="21600"/>
                      <a:pt x="17662" y="21186"/>
                      <a:pt x="17602" y="21186"/>
                    </a:cubicBezTo>
                    <a:cubicBezTo>
                      <a:pt x="16827" y="20607"/>
                      <a:pt x="16349" y="20855"/>
                      <a:pt x="15693" y="20276"/>
                    </a:cubicBezTo>
                    <a:cubicBezTo>
                      <a:pt x="15036" y="19779"/>
                      <a:pt x="13485" y="19862"/>
                      <a:pt x="13903" y="18703"/>
                    </a:cubicBezTo>
                    <a:cubicBezTo>
                      <a:pt x="13067" y="18124"/>
                      <a:pt x="12650" y="17462"/>
                      <a:pt x="11874" y="16883"/>
                    </a:cubicBezTo>
                    <a:cubicBezTo>
                      <a:pt x="11755" y="17131"/>
                      <a:pt x="11576" y="17379"/>
                      <a:pt x="11337" y="17379"/>
                    </a:cubicBezTo>
                    <a:cubicBezTo>
                      <a:pt x="11098" y="17379"/>
                      <a:pt x="11158" y="17131"/>
                      <a:pt x="10919" y="17131"/>
                    </a:cubicBezTo>
                    <a:cubicBezTo>
                      <a:pt x="10561" y="17131"/>
                      <a:pt x="10442" y="17710"/>
                      <a:pt x="10084" y="17710"/>
                    </a:cubicBezTo>
                    <a:cubicBezTo>
                      <a:pt x="9845" y="17710"/>
                      <a:pt x="8950" y="17214"/>
                      <a:pt x="8950" y="16634"/>
                    </a:cubicBezTo>
                    <a:cubicBezTo>
                      <a:pt x="8950" y="16303"/>
                      <a:pt x="9666" y="15641"/>
                      <a:pt x="10024" y="15641"/>
                    </a:cubicBezTo>
                    <a:cubicBezTo>
                      <a:pt x="10502" y="15641"/>
                      <a:pt x="10919" y="15641"/>
                      <a:pt x="11158" y="15641"/>
                    </a:cubicBezTo>
                    <a:cubicBezTo>
                      <a:pt x="11397" y="15641"/>
                      <a:pt x="12053" y="15476"/>
                      <a:pt x="12351" y="15145"/>
                    </a:cubicBezTo>
                    <a:cubicBezTo>
                      <a:pt x="12232" y="15062"/>
                      <a:pt x="11874" y="14731"/>
                      <a:pt x="11874" y="14400"/>
                    </a:cubicBezTo>
                    <a:cubicBezTo>
                      <a:pt x="11874" y="13821"/>
                      <a:pt x="12351" y="14152"/>
                      <a:pt x="12530" y="13821"/>
                    </a:cubicBezTo>
                    <a:cubicBezTo>
                      <a:pt x="12769" y="13490"/>
                      <a:pt x="13306" y="12745"/>
                      <a:pt x="13306" y="12248"/>
                    </a:cubicBezTo>
                    <a:cubicBezTo>
                      <a:pt x="13306" y="11255"/>
                      <a:pt x="11635" y="9517"/>
                      <a:pt x="11098" y="9517"/>
                    </a:cubicBezTo>
                    <a:cubicBezTo>
                      <a:pt x="10740" y="9517"/>
                      <a:pt x="10561" y="9931"/>
                      <a:pt x="10263" y="9931"/>
                    </a:cubicBezTo>
                    <a:cubicBezTo>
                      <a:pt x="10144" y="9931"/>
                      <a:pt x="10024" y="9517"/>
                      <a:pt x="10024" y="9517"/>
                    </a:cubicBezTo>
                    <a:cubicBezTo>
                      <a:pt x="10024" y="9103"/>
                      <a:pt x="10502" y="9021"/>
                      <a:pt x="10681" y="9021"/>
                    </a:cubicBezTo>
                    <a:cubicBezTo>
                      <a:pt x="10442" y="8690"/>
                      <a:pt x="9010" y="7034"/>
                      <a:pt x="8712" y="7034"/>
                    </a:cubicBezTo>
                    <a:cubicBezTo>
                      <a:pt x="8354" y="7034"/>
                      <a:pt x="7936" y="8359"/>
                      <a:pt x="7459" y="8359"/>
                    </a:cubicBezTo>
                    <a:cubicBezTo>
                      <a:pt x="7160" y="8359"/>
                      <a:pt x="7220" y="7779"/>
                      <a:pt x="7280" y="7531"/>
                    </a:cubicBezTo>
                    <a:cubicBezTo>
                      <a:pt x="6444" y="7448"/>
                      <a:pt x="4475" y="7531"/>
                      <a:pt x="3282" y="7531"/>
                    </a:cubicBezTo>
                    <a:cubicBezTo>
                      <a:pt x="3043" y="7531"/>
                      <a:pt x="2625" y="7117"/>
                      <a:pt x="2446" y="6786"/>
                    </a:cubicBezTo>
                    <a:cubicBezTo>
                      <a:pt x="1193" y="6786"/>
                      <a:pt x="1193" y="6786"/>
                      <a:pt x="1193" y="6786"/>
                    </a:cubicBezTo>
                    <a:cubicBezTo>
                      <a:pt x="1074" y="6290"/>
                      <a:pt x="656" y="6207"/>
                      <a:pt x="656" y="5710"/>
                    </a:cubicBezTo>
                    <a:cubicBezTo>
                      <a:pt x="955" y="5545"/>
                      <a:pt x="1372" y="5793"/>
                      <a:pt x="1790" y="5793"/>
                    </a:cubicBezTo>
                    <a:cubicBezTo>
                      <a:pt x="1790" y="5379"/>
                      <a:pt x="1790" y="5379"/>
                      <a:pt x="1790" y="5379"/>
                    </a:cubicBezTo>
                    <a:cubicBezTo>
                      <a:pt x="1551" y="5131"/>
                      <a:pt x="358" y="4966"/>
                      <a:pt x="358" y="4966"/>
                    </a:cubicBezTo>
                    <a:cubicBezTo>
                      <a:pt x="358" y="4966"/>
                      <a:pt x="0" y="4303"/>
                      <a:pt x="0" y="3972"/>
                    </a:cubicBezTo>
                    <a:cubicBezTo>
                      <a:pt x="0" y="2979"/>
                      <a:pt x="119" y="2731"/>
                      <a:pt x="477" y="2400"/>
                    </a:cubicBezTo>
                    <a:cubicBezTo>
                      <a:pt x="716" y="2152"/>
                      <a:pt x="597" y="1490"/>
                      <a:pt x="656" y="1324"/>
                    </a:cubicBezTo>
                    <a:cubicBezTo>
                      <a:pt x="1193" y="579"/>
                      <a:pt x="1909" y="0"/>
                      <a:pt x="2804" y="0"/>
                    </a:cubicBezTo>
                    <a:cubicBezTo>
                      <a:pt x="2804" y="0"/>
                      <a:pt x="3640" y="331"/>
                      <a:pt x="3640" y="331"/>
                    </a:cubicBezTo>
                    <a:cubicBezTo>
                      <a:pt x="3401" y="1159"/>
                      <a:pt x="2506" y="1159"/>
                      <a:pt x="2506" y="2234"/>
                    </a:cubicBezTo>
                    <a:cubicBezTo>
                      <a:pt x="2506" y="2483"/>
                      <a:pt x="2625" y="2648"/>
                      <a:pt x="2745" y="2648"/>
                    </a:cubicBezTo>
                    <a:cubicBezTo>
                      <a:pt x="2685" y="2897"/>
                      <a:pt x="2745" y="3310"/>
                      <a:pt x="2745" y="3310"/>
                    </a:cubicBezTo>
                    <a:cubicBezTo>
                      <a:pt x="2745" y="3559"/>
                      <a:pt x="2685" y="3890"/>
                      <a:pt x="2983" y="3890"/>
                    </a:cubicBezTo>
                    <a:cubicBezTo>
                      <a:pt x="3162" y="3890"/>
                      <a:pt x="3520" y="3476"/>
                      <a:pt x="3520" y="3145"/>
                    </a:cubicBezTo>
                    <a:cubicBezTo>
                      <a:pt x="3520" y="2814"/>
                      <a:pt x="3282" y="2566"/>
                      <a:pt x="3282" y="2152"/>
                    </a:cubicBezTo>
                    <a:cubicBezTo>
                      <a:pt x="3282" y="828"/>
                      <a:pt x="5012" y="331"/>
                      <a:pt x="6086" y="331"/>
                    </a:cubicBezTo>
                    <a:cubicBezTo>
                      <a:pt x="6743" y="331"/>
                      <a:pt x="7160" y="1655"/>
                      <a:pt x="7160" y="2400"/>
                    </a:cubicBezTo>
                    <a:cubicBezTo>
                      <a:pt x="7160" y="2566"/>
                      <a:pt x="6981" y="3145"/>
                      <a:pt x="7160" y="3145"/>
                    </a:cubicBezTo>
                    <a:cubicBezTo>
                      <a:pt x="7280" y="3145"/>
                      <a:pt x="7399" y="2814"/>
                      <a:pt x="7638" y="2814"/>
                    </a:cubicBezTo>
                    <a:cubicBezTo>
                      <a:pt x="7936" y="2814"/>
                      <a:pt x="8055" y="3145"/>
                      <a:pt x="8234" y="3145"/>
                    </a:cubicBezTo>
                    <a:cubicBezTo>
                      <a:pt x="8712" y="3145"/>
                      <a:pt x="8831" y="2234"/>
                      <a:pt x="9308" y="2234"/>
                    </a:cubicBezTo>
                    <a:cubicBezTo>
                      <a:pt x="9845" y="2234"/>
                      <a:pt x="10919" y="2483"/>
                      <a:pt x="11277" y="2814"/>
                    </a:cubicBezTo>
                    <a:cubicBezTo>
                      <a:pt x="11874" y="3393"/>
                      <a:pt x="12053" y="4634"/>
                      <a:pt x="12948" y="4634"/>
                    </a:cubicBezTo>
                    <a:cubicBezTo>
                      <a:pt x="13306" y="4634"/>
                      <a:pt x="13366" y="4634"/>
                      <a:pt x="13604" y="4634"/>
                    </a:cubicBezTo>
                    <a:cubicBezTo>
                      <a:pt x="13843" y="4634"/>
                      <a:pt x="14499" y="4717"/>
                      <a:pt x="14440" y="5379"/>
                    </a:cubicBezTo>
                    <a:cubicBezTo>
                      <a:pt x="15156" y="5710"/>
                      <a:pt x="15573" y="6290"/>
                      <a:pt x="16290" y="6372"/>
                    </a:cubicBezTo>
                    <a:cubicBezTo>
                      <a:pt x="16290" y="7034"/>
                      <a:pt x="16290" y="7034"/>
                      <a:pt x="16290" y="7034"/>
                    </a:cubicBezTo>
                    <a:cubicBezTo>
                      <a:pt x="16469" y="7034"/>
                      <a:pt x="16767" y="7034"/>
                      <a:pt x="16767" y="7034"/>
                    </a:cubicBezTo>
                    <a:cubicBezTo>
                      <a:pt x="17125" y="7034"/>
                      <a:pt x="17304" y="7366"/>
                      <a:pt x="17483" y="7862"/>
                    </a:cubicBezTo>
                    <a:cubicBezTo>
                      <a:pt x="17125" y="7945"/>
                      <a:pt x="16767" y="7945"/>
                      <a:pt x="16528" y="8359"/>
                    </a:cubicBezTo>
                    <a:cubicBezTo>
                      <a:pt x="17006" y="8441"/>
                      <a:pt x="17125" y="8441"/>
                      <a:pt x="17364" y="8441"/>
                    </a:cubicBezTo>
                    <a:cubicBezTo>
                      <a:pt x="17483" y="8441"/>
                      <a:pt x="17662" y="8524"/>
                      <a:pt x="17722" y="8772"/>
                    </a:cubicBezTo>
                    <a:cubicBezTo>
                      <a:pt x="17304" y="9103"/>
                      <a:pt x="17125" y="9103"/>
                      <a:pt x="16886" y="9600"/>
                    </a:cubicBezTo>
                    <a:cubicBezTo>
                      <a:pt x="17125" y="9766"/>
                      <a:pt x="17244" y="9931"/>
                      <a:pt x="17602" y="9931"/>
                    </a:cubicBezTo>
                    <a:cubicBezTo>
                      <a:pt x="17662" y="10759"/>
                      <a:pt x="18378" y="11090"/>
                      <a:pt x="18915" y="11172"/>
                    </a:cubicBezTo>
                    <a:cubicBezTo>
                      <a:pt x="18975" y="11834"/>
                      <a:pt x="19094" y="12497"/>
                      <a:pt x="19512" y="12497"/>
                    </a:cubicBezTo>
                    <a:cubicBezTo>
                      <a:pt x="20108" y="12497"/>
                      <a:pt x="20228" y="12000"/>
                      <a:pt x="20407" y="12662"/>
                    </a:cubicBezTo>
                    <a:cubicBezTo>
                      <a:pt x="20526" y="12828"/>
                      <a:pt x="20765" y="12828"/>
                      <a:pt x="20884" y="12828"/>
                    </a:cubicBezTo>
                    <a:cubicBezTo>
                      <a:pt x="21421" y="12828"/>
                      <a:pt x="21600" y="13076"/>
                      <a:pt x="21600" y="13655"/>
                    </a:cubicBezTo>
                    <a:cubicBezTo>
                      <a:pt x="21600" y="14152"/>
                      <a:pt x="21182" y="14317"/>
                      <a:pt x="20824" y="14317"/>
                    </a:cubicBezTo>
                    <a:cubicBezTo>
                      <a:pt x="20824" y="14731"/>
                      <a:pt x="20824" y="14566"/>
                      <a:pt x="20824" y="14731"/>
                    </a:cubicBezTo>
                    <a:cubicBezTo>
                      <a:pt x="20824" y="14897"/>
                      <a:pt x="20765" y="15228"/>
                      <a:pt x="20228" y="15228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/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85" name="işḷiḋe"/>
              <p:cNvSpPr/>
              <p:nvPr/>
            </p:nvSpPr>
            <p:spPr>
              <a:xfrm>
                <a:off x="2630403" y="1143189"/>
                <a:ext cx="25267" cy="1369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13714" extrusionOk="0">
                    <a:moveTo>
                      <a:pt x="21600" y="8314"/>
                    </a:moveTo>
                    <a:cubicBezTo>
                      <a:pt x="12960" y="15514"/>
                      <a:pt x="10800" y="15514"/>
                      <a:pt x="0" y="8314"/>
                    </a:cubicBezTo>
                    <a:cubicBezTo>
                      <a:pt x="10800" y="-6086"/>
                      <a:pt x="10800" y="1114"/>
                      <a:pt x="21600" y="8314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86" name="iṧľiḍé"/>
              <p:cNvSpPr/>
              <p:nvPr/>
            </p:nvSpPr>
            <p:spPr>
              <a:xfrm>
                <a:off x="2458463" y="1028500"/>
                <a:ext cx="20349" cy="1773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570" h="17893" extrusionOk="0">
                    <a:moveTo>
                      <a:pt x="370" y="1093"/>
                    </a:moveTo>
                    <a:cubicBezTo>
                      <a:pt x="12370" y="-3707"/>
                      <a:pt x="12370" y="8293"/>
                      <a:pt x="19570" y="17893"/>
                    </a:cubicBezTo>
                    <a:cubicBezTo>
                      <a:pt x="7570" y="17893"/>
                      <a:pt x="-2030" y="8293"/>
                      <a:pt x="370" y="1093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87" name="iŝḷïḋe"/>
              <p:cNvSpPr/>
              <p:nvPr/>
            </p:nvSpPr>
            <p:spPr>
              <a:xfrm>
                <a:off x="2231772" y="42809"/>
                <a:ext cx="909553" cy="45488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627" y="1170"/>
                    </a:moveTo>
                    <a:cubicBezTo>
                      <a:pt x="17459" y="1490"/>
                      <a:pt x="17347" y="1596"/>
                      <a:pt x="17179" y="1702"/>
                    </a:cubicBezTo>
                    <a:cubicBezTo>
                      <a:pt x="19138" y="638"/>
                      <a:pt x="19138" y="638"/>
                      <a:pt x="19138" y="638"/>
                    </a:cubicBezTo>
                    <a:cubicBezTo>
                      <a:pt x="19306" y="745"/>
                      <a:pt x="19418" y="851"/>
                      <a:pt x="19585" y="958"/>
                    </a:cubicBezTo>
                    <a:cubicBezTo>
                      <a:pt x="19865" y="1170"/>
                      <a:pt x="19865" y="1490"/>
                      <a:pt x="20033" y="1809"/>
                    </a:cubicBezTo>
                    <a:cubicBezTo>
                      <a:pt x="20313" y="2341"/>
                      <a:pt x="21600" y="2128"/>
                      <a:pt x="21600" y="2979"/>
                    </a:cubicBezTo>
                    <a:cubicBezTo>
                      <a:pt x="21600" y="3511"/>
                      <a:pt x="21152" y="3405"/>
                      <a:pt x="20984" y="3618"/>
                    </a:cubicBezTo>
                    <a:cubicBezTo>
                      <a:pt x="20033" y="5107"/>
                      <a:pt x="18802" y="4256"/>
                      <a:pt x="17515" y="5427"/>
                    </a:cubicBezTo>
                    <a:cubicBezTo>
                      <a:pt x="17739" y="5959"/>
                      <a:pt x="18746" y="5533"/>
                      <a:pt x="19362" y="5533"/>
                    </a:cubicBezTo>
                    <a:cubicBezTo>
                      <a:pt x="18802" y="6703"/>
                      <a:pt x="17403" y="7342"/>
                      <a:pt x="16508" y="7874"/>
                    </a:cubicBezTo>
                    <a:cubicBezTo>
                      <a:pt x="15501" y="8512"/>
                      <a:pt x="14941" y="10321"/>
                      <a:pt x="14213" y="11385"/>
                    </a:cubicBezTo>
                    <a:cubicBezTo>
                      <a:pt x="13878" y="11917"/>
                      <a:pt x="13318" y="11279"/>
                      <a:pt x="12926" y="11492"/>
                    </a:cubicBezTo>
                    <a:cubicBezTo>
                      <a:pt x="12367" y="11917"/>
                      <a:pt x="11751" y="11917"/>
                      <a:pt x="11360" y="12556"/>
                    </a:cubicBezTo>
                    <a:cubicBezTo>
                      <a:pt x="12087" y="12556"/>
                      <a:pt x="12087" y="12556"/>
                      <a:pt x="12087" y="12556"/>
                    </a:cubicBezTo>
                    <a:cubicBezTo>
                      <a:pt x="12143" y="13620"/>
                      <a:pt x="11807" y="13513"/>
                      <a:pt x="11360" y="13407"/>
                    </a:cubicBezTo>
                    <a:cubicBezTo>
                      <a:pt x="11639" y="13726"/>
                      <a:pt x="11919" y="13939"/>
                      <a:pt x="12087" y="14577"/>
                    </a:cubicBezTo>
                    <a:cubicBezTo>
                      <a:pt x="11527" y="15003"/>
                      <a:pt x="11360" y="16173"/>
                      <a:pt x="10968" y="16705"/>
                    </a:cubicBezTo>
                    <a:cubicBezTo>
                      <a:pt x="9905" y="16705"/>
                      <a:pt x="9905" y="16705"/>
                      <a:pt x="9737" y="16705"/>
                    </a:cubicBezTo>
                    <a:cubicBezTo>
                      <a:pt x="9793" y="17025"/>
                      <a:pt x="9905" y="17131"/>
                      <a:pt x="9905" y="17450"/>
                    </a:cubicBezTo>
                    <a:cubicBezTo>
                      <a:pt x="9905" y="18940"/>
                      <a:pt x="8841" y="17982"/>
                      <a:pt x="8841" y="19578"/>
                    </a:cubicBezTo>
                    <a:cubicBezTo>
                      <a:pt x="9233" y="19578"/>
                      <a:pt x="9289" y="19578"/>
                      <a:pt x="9457" y="19578"/>
                    </a:cubicBezTo>
                    <a:cubicBezTo>
                      <a:pt x="9569" y="19578"/>
                      <a:pt x="9849" y="19578"/>
                      <a:pt x="9849" y="20004"/>
                    </a:cubicBezTo>
                    <a:cubicBezTo>
                      <a:pt x="9849" y="20749"/>
                      <a:pt x="8450" y="21600"/>
                      <a:pt x="7890" y="21600"/>
                    </a:cubicBezTo>
                    <a:cubicBezTo>
                      <a:pt x="7331" y="21600"/>
                      <a:pt x="7554" y="20962"/>
                      <a:pt x="7051" y="20962"/>
                    </a:cubicBezTo>
                    <a:cubicBezTo>
                      <a:pt x="6323" y="20962"/>
                      <a:pt x="5820" y="20962"/>
                      <a:pt x="5204" y="20962"/>
                    </a:cubicBezTo>
                    <a:cubicBezTo>
                      <a:pt x="4980" y="20962"/>
                      <a:pt x="4812" y="21387"/>
                      <a:pt x="4477" y="21387"/>
                    </a:cubicBezTo>
                    <a:cubicBezTo>
                      <a:pt x="3637" y="21387"/>
                      <a:pt x="2966" y="20962"/>
                      <a:pt x="2126" y="20430"/>
                    </a:cubicBezTo>
                    <a:cubicBezTo>
                      <a:pt x="2070" y="20642"/>
                      <a:pt x="1959" y="20962"/>
                      <a:pt x="1847" y="20962"/>
                    </a:cubicBezTo>
                    <a:cubicBezTo>
                      <a:pt x="1623" y="20962"/>
                      <a:pt x="1567" y="20642"/>
                      <a:pt x="1567" y="20536"/>
                    </a:cubicBezTo>
                    <a:cubicBezTo>
                      <a:pt x="1567" y="18727"/>
                      <a:pt x="2854" y="19366"/>
                      <a:pt x="3358" y="18727"/>
                    </a:cubicBezTo>
                    <a:cubicBezTo>
                      <a:pt x="3078" y="18301"/>
                      <a:pt x="2574" y="18089"/>
                      <a:pt x="2574" y="17237"/>
                    </a:cubicBezTo>
                    <a:cubicBezTo>
                      <a:pt x="2574" y="16599"/>
                      <a:pt x="2910" y="16812"/>
                      <a:pt x="3190" y="16812"/>
                    </a:cubicBezTo>
                    <a:cubicBezTo>
                      <a:pt x="3973" y="16812"/>
                      <a:pt x="4253" y="17557"/>
                      <a:pt x="4701" y="18089"/>
                    </a:cubicBezTo>
                    <a:cubicBezTo>
                      <a:pt x="5148" y="18089"/>
                      <a:pt x="5148" y="18089"/>
                      <a:pt x="5148" y="18089"/>
                    </a:cubicBezTo>
                    <a:cubicBezTo>
                      <a:pt x="4812" y="17450"/>
                      <a:pt x="4029" y="16918"/>
                      <a:pt x="4029" y="15748"/>
                    </a:cubicBezTo>
                    <a:cubicBezTo>
                      <a:pt x="3693" y="15748"/>
                      <a:pt x="3693" y="15748"/>
                      <a:pt x="3693" y="15748"/>
                    </a:cubicBezTo>
                    <a:cubicBezTo>
                      <a:pt x="3525" y="15854"/>
                      <a:pt x="3525" y="15854"/>
                      <a:pt x="3413" y="16067"/>
                    </a:cubicBezTo>
                    <a:cubicBezTo>
                      <a:pt x="3078" y="16067"/>
                      <a:pt x="3078" y="16067"/>
                      <a:pt x="3078" y="16067"/>
                    </a:cubicBezTo>
                    <a:cubicBezTo>
                      <a:pt x="3078" y="15535"/>
                      <a:pt x="3078" y="15535"/>
                      <a:pt x="3078" y="15535"/>
                    </a:cubicBezTo>
                    <a:cubicBezTo>
                      <a:pt x="3246" y="14684"/>
                      <a:pt x="3413" y="14258"/>
                      <a:pt x="3805" y="13939"/>
                    </a:cubicBezTo>
                    <a:cubicBezTo>
                      <a:pt x="4421" y="13620"/>
                      <a:pt x="5148" y="14045"/>
                      <a:pt x="5148" y="12662"/>
                    </a:cubicBezTo>
                    <a:cubicBezTo>
                      <a:pt x="5148" y="11172"/>
                      <a:pt x="3469" y="11172"/>
                      <a:pt x="3469" y="10321"/>
                    </a:cubicBezTo>
                    <a:cubicBezTo>
                      <a:pt x="3469" y="9896"/>
                      <a:pt x="3861" y="10002"/>
                      <a:pt x="4085" y="10002"/>
                    </a:cubicBezTo>
                    <a:cubicBezTo>
                      <a:pt x="3805" y="10002"/>
                      <a:pt x="3749" y="9789"/>
                      <a:pt x="3749" y="9470"/>
                    </a:cubicBezTo>
                    <a:cubicBezTo>
                      <a:pt x="3861" y="9364"/>
                      <a:pt x="3973" y="9470"/>
                      <a:pt x="4085" y="9470"/>
                    </a:cubicBezTo>
                    <a:cubicBezTo>
                      <a:pt x="4365" y="9470"/>
                      <a:pt x="4924" y="9257"/>
                      <a:pt x="5428" y="9576"/>
                    </a:cubicBezTo>
                    <a:cubicBezTo>
                      <a:pt x="6044" y="9896"/>
                      <a:pt x="6267" y="11279"/>
                      <a:pt x="6939" y="11066"/>
                    </a:cubicBezTo>
                    <a:cubicBezTo>
                      <a:pt x="6827" y="10853"/>
                      <a:pt x="6044" y="9896"/>
                      <a:pt x="6044" y="9683"/>
                    </a:cubicBezTo>
                    <a:cubicBezTo>
                      <a:pt x="6044" y="9470"/>
                      <a:pt x="6155" y="9364"/>
                      <a:pt x="6211" y="9151"/>
                    </a:cubicBezTo>
                    <a:cubicBezTo>
                      <a:pt x="7442" y="9151"/>
                      <a:pt x="7442" y="9151"/>
                      <a:pt x="7442" y="9151"/>
                    </a:cubicBezTo>
                    <a:cubicBezTo>
                      <a:pt x="7890" y="8832"/>
                      <a:pt x="8338" y="8619"/>
                      <a:pt x="8618" y="7874"/>
                    </a:cubicBezTo>
                    <a:cubicBezTo>
                      <a:pt x="8226" y="7874"/>
                      <a:pt x="8226" y="7874"/>
                      <a:pt x="8226" y="7874"/>
                    </a:cubicBezTo>
                    <a:cubicBezTo>
                      <a:pt x="7722" y="8619"/>
                      <a:pt x="7163" y="8938"/>
                      <a:pt x="6379" y="8938"/>
                    </a:cubicBezTo>
                    <a:cubicBezTo>
                      <a:pt x="5932" y="8938"/>
                      <a:pt x="5764" y="8619"/>
                      <a:pt x="5540" y="8619"/>
                    </a:cubicBezTo>
                    <a:cubicBezTo>
                      <a:pt x="5316" y="8619"/>
                      <a:pt x="5204" y="9044"/>
                      <a:pt x="5036" y="9044"/>
                    </a:cubicBezTo>
                    <a:cubicBezTo>
                      <a:pt x="4533" y="9044"/>
                      <a:pt x="3917" y="8725"/>
                      <a:pt x="4029" y="8087"/>
                    </a:cubicBezTo>
                    <a:cubicBezTo>
                      <a:pt x="3749" y="8087"/>
                      <a:pt x="3749" y="8087"/>
                      <a:pt x="3749" y="8087"/>
                    </a:cubicBezTo>
                    <a:cubicBezTo>
                      <a:pt x="3525" y="8300"/>
                      <a:pt x="3413" y="8619"/>
                      <a:pt x="3190" y="8619"/>
                    </a:cubicBezTo>
                    <a:cubicBezTo>
                      <a:pt x="2686" y="8619"/>
                      <a:pt x="2015" y="7980"/>
                      <a:pt x="1847" y="7555"/>
                    </a:cubicBezTo>
                    <a:cubicBezTo>
                      <a:pt x="2015" y="7342"/>
                      <a:pt x="2182" y="7129"/>
                      <a:pt x="2462" y="7129"/>
                    </a:cubicBezTo>
                    <a:cubicBezTo>
                      <a:pt x="2015" y="7129"/>
                      <a:pt x="1511" y="7023"/>
                      <a:pt x="1343" y="7129"/>
                    </a:cubicBezTo>
                    <a:cubicBezTo>
                      <a:pt x="1623" y="5852"/>
                      <a:pt x="2238" y="5959"/>
                      <a:pt x="2854" y="5639"/>
                    </a:cubicBezTo>
                    <a:cubicBezTo>
                      <a:pt x="2630" y="5533"/>
                      <a:pt x="2574" y="5533"/>
                      <a:pt x="2350" y="5533"/>
                    </a:cubicBezTo>
                    <a:cubicBezTo>
                      <a:pt x="1847" y="5533"/>
                      <a:pt x="1847" y="6384"/>
                      <a:pt x="1399" y="6384"/>
                    </a:cubicBezTo>
                    <a:cubicBezTo>
                      <a:pt x="1231" y="6384"/>
                      <a:pt x="1007" y="6065"/>
                      <a:pt x="951" y="5959"/>
                    </a:cubicBezTo>
                    <a:cubicBezTo>
                      <a:pt x="1175" y="5533"/>
                      <a:pt x="1343" y="5427"/>
                      <a:pt x="1623" y="5214"/>
                    </a:cubicBezTo>
                    <a:cubicBezTo>
                      <a:pt x="895" y="5214"/>
                      <a:pt x="895" y="5214"/>
                      <a:pt x="895" y="5214"/>
                    </a:cubicBezTo>
                    <a:cubicBezTo>
                      <a:pt x="727" y="5320"/>
                      <a:pt x="616" y="5427"/>
                      <a:pt x="504" y="5533"/>
                    </a:cubicBezTo>
                    <a:cubicBezTo>
                      <a:pt x="392" y="5533"/>
                      <a:pt x="112" y="5533"/>
                      <a:pt x="0" y="5533"/>
                    </a:cubicBezTo>
                    <a:cubicBezTo>
                      <a:pt x="112" y="4363"/>
                      <a:pt x="1735" y="3831"/>
                      <a:pt x="2462" y="3831"/>
                    </a:cubicBezTo>
                    <a:cubicBezTo>
                      <a:pt x="2742" y="3831"/>
                      <a:pt x="2910" y="3831"/>
                      <a:pt x="2966" y="3831"/>
                    </a:cubicBezTo>
                    <a:cubicBezTo>
                      <a:pt x="3078" y="3831"/>
                      <a:pt x="3190" y="3618"/>
                      <a:pt x="3190" y="3405"/>
                    </a:cubicBezTo>
                    <a:cubicBezTo>
                      <a:pt x="3973" y="3405"/>
                      <a:pt x="3637" y="2341"/>
                      <a:pt x="4141" y="2341"/>
                    </a:cubicBezTo>
                    <a:cubicBezTo>
                      <a:pt x="4645" y="2341"/>
                      <a:pt x="5596" y="3299"/>
                      <a:pt x="5820" y="3405"/>
                    </a:cubicBezTo>
                    <a:cubicBezTo>
                      <a:pt x="6044" y="2341"/>
                      <a:pt x="6323" y="1277"/>
                      <a:pt x="7051" y="1277"/>
                    </a:cubicBezTo>
                    <a:cubicBezTo>
                      <a:pt x="7498" y="1277"/>
                      <a:pt x="7219" y="1702"/>
                      <a:pt x="7554" y="1170"/>
                    </a:cubicBezTo>
                    <a:cubicBezTo>
                      <a:pt x="7666" y="745"/>
                      <a:pt x="7890" y="638"/>
                      <a:pt x="8114" y="638"/>
                    </a:cubicBezTo>
                    <a:cubicBezTo>
                      <a:pt x="9401" y="638"/>
                      <a:pt x="9681" y="638"/>
                      <a:pt x="10968" y="638"/>
                    </a:cubicBezTo>
                    <a:cubicBezTo>
                      <a:pt x="11024" y="426"/>
                      <a:pt x="11136" y="319"/>
                      <a:pt x="11248" y="319"/>
                    </a:cubicBezTo>
                    <a:cubicBezTo>
                      <a:pt x="11695" y="319"/>
                      <a:pt x="11807" y="851"/>
                      <a:pt x="12199" y="851"/>
                    </a:cubicBezTo>
                    <a:cubicBezTo>
                      <a:pt x="12535" y="851"/>
                      <a:pt x="12647" y="0"/>
                      <a:pt x="12982" y="0"/>
                    </a:cubicBezTo>
                    <a:cubicBezTo>
                      <a:pt x="13374" y="0"/>
                      <a:pt x="13486" y="319"/>
                      <a:pt x="13710" y="319"/>
                    </a:cubicBezTo>
                    <a:cubicBezTo>
                      <a:pt x="13990" y="319"/>
                      <a:pt x="14158" y="319"/>
                      <a:pt x="14437" y="319"/>
                    </a:cubicBezTo>
                    <a:cubicBezTo>
                      <a:pt x="14997" y="319"/>
                      <a:pt x="17123" y="213"/>
                      <a:pt x="17627" y="117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/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88" name="ïṡľíḑê"/>
              <p:cNvSpPr/>
              <p:nvPr/>
            </p:nvSpPr>
            <p:spPr>
              <a:xfrm>
                <a:off x="2801647" y="-1"/>
                <a:ext cx="1779804" cy="128973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7286" y="15139"/>
                    </a:moveTo>
                    <a:cubicBezTo>
                      <a:pt x="7457" y="15026"/>
                      <a:pt x="7457" y="15026"/>
                      <a:pt x="7629" y="15101"/>
                    </a:cubicBezTo>
                    <a:cubicBezTo>
                      <a:pt x="7714" y="14613"/>
                      <a:pt x="7886" y="14463"/>
                      <a:pt x="8000" y="13974"/>
                    </a:cubicBezTo>
                    <a:cubicBezTo>
                      <a:pt x="7600" y="13824"/>
                      <a:pt x="6686" y="13749"/>
                      <a:pt x="6657" y="13261"/>
                    </a:cubicBezTo>
                    <a:cubicBezTo>
                      <a:pt x="6771" y="13223"/>
                      <a:pt x="6743" y="13261"/>
                      <a:pt x="6857" y="13261"/>
                    </a:cubicBezTo>
                    <a:cubicBezTo>
                      <a:pt x="7143" y="13261"/>
                      <a:pt x="7314" y="13523"/>
                      <a:pt x="7629" y="13523"/>
                    </a:cubicBezTo>
                    <a:cubicBezTo>
                      <a:pt x="7743" y="13523"/>
                      <a:pt x="7743" y="13373"/>
                      <a:pt x="7743" y="13261"/>
                    </a:cubicBezTo>
                    <a:cubicBezTo>
                      <a:pt x="7371" y="13110"/>
                      <a:pt x="7257" y="12321"/>
                      <a:pt x="6829" y="12321"/>
                    </a:cubicBezTo>
                    <a:cubicBezTo>
                      <a:pt x="6714" y="12321"/>
                      <a:pt x="6686" y="12622"/>
                      <a:pt x="6514" y="12622"/>
                    </a:cubicBezTo>
                    <a:cubicBezTo>
                      <a:pt x="6286" y="12622"/>
                      <a:pt x="6171" y="12584"/>
                      <a:pt x="6171" y="12321"/>
                    </a:cubicBezTo>
                    <a:cubicBezTo>
                      <a:pt x="6171" y="11946"/>
                      <a:pt x="6457" y="11983"/>
                      <a:pt x="6457" y="11608"/>
                    </a:cubicBezTo>
                    <a:cubicBezTo>
                      <a:pt x="6457" y="11382"/>
                      <a:pt x="6257" y="11345"/>
                      <a:pt x="6143" y="11345"/>
                    </a:cubicBezTo>
                    <a:cubicBezTo>
                      <a:pt x="6143" y="11082"/>
                      <a:pt x="6143" y="11082"/>
                      <a:pt x="6143" y="11082"/>
                    </a:cubicBezTo>
                    <a:cubicBezTo>
                      <a:pt x="5800" y="9654"/>
                      <a:pt x="4914" y="8227"/>
                      <a:pt x="3486" y="8227"/>
                    </a:cubicBezTo>
                    <a:cubicBezTo>
                      <a:pt x="3286" y="8227"/>
                      <a:pt x="3229" y="8227"/>
                      <a:pt x="3114" y="8227"/>
                    </a:cubicBezTo>
                    <a:cubicBezTo>
                      <a:pt x="2943" y="8227"/>
                      <a:pt x="2886" y="8415"/>
                      <a:pt x="2714" y="8415"/>
                    </a:cubicBezTo>
                    <a:cubicBezTo>
                      <a:pt x="2600" y="8415"/>
                      <a:pt x="2486" y="8302"/>
                      <a:pt x="2343" y="8302"/>
                    </a:cubicBezTo>
                    <a:cubicBezTo>
                      <a:pt x="2200" y="8302"/>
                      <a:pt x="2143" y="8339"/>
                      <a:pt x="2086" y="8377"/>
                    </a:cubicBezTo>
                    <a:cubicBezTo>
                      <a:pt x="2114" y="8415"/>
                      <a:pt x="2171" y="8490"/>
                      <a:pt x="2200" y="8490"/>
                    </a:cubicBezTo>
                    <a:cubicBezTo>
                      <a:pt x="2143" y="8602"/>
                      <a:pt x="2143" y="8565"/>
                      <a:pt x="2057" y="8565"/>
                    </a:cubicBezTo>
                    <a:cubicBezTo>
                      <a:pt x="1771" y="8565"/>
                      <a:pt x="1371" y="8415"/>
                      <a:pt x="1229" y="8152"/>
                    </a:cubicBezTo>
                    <a:cubicBezTo>
                      <a:pt x="1343" y="8039"/>
                      <a:pt x="1429" y="8039"/>
                      <a:pt x="1486" y="7889"/>
                    </a:cubicBezTo>
                    <a:cubicBezTo>
                      <a:pt x="1286" y="7776"/>
                      <a:pt x="1114" y="7588"/>
                      <a:pt x="971" y="7588"/>
                    </a:cubicBezTo>
                    <a:cubicBezTo>
                      <a:pt x="686" y="7588"/>
                      <a:pt x="771" y="7738"/>
                      <a:pt x="543" y="7588"/>
                    </a:cubicBezTo>
                    <a:cubicBezTo>
                      <a:pt x="543" y="7363"/>
                      <a:pt x="800" y="7288"/>
                      <a:pt x="914" y="7288"/>
                    </a:cubicBezTo>
                    <a:cubicBezTo>
                      <a:pt x="1057" y="7288"/>
                      <a:pt x="1143" y="7288"/>
                      <a:pt x="1229" y="7288"/>
                    </a:cubicBezTo>
                    <a:cubicBezTo>
                      <a:pt x="1343" y="7288"/>
                      <a:pt x="1400" y="7250"/>
                      <a:pt x="1457" y="7137"/>
                    </a:cubicBezTo>
                    <a:cubicBezTo>
                      <a:pt x="2171" y="7137"/>
                      <a:pt x="2171" y="7137"/>
                      <a:pt x="2171" y="7137"/>
                    </a:cubicBezTo>
                    <a:cubicBezTo>
                      <a:pt x="2286" y="7025"/>
                      <a:pt x="2286" y="6950"/>
                      <a:pt x="2343" y="6762"/>
                    </a:cubicBezTo>
                    <a:cubicBezTo>
                      <a:pt x="1829" y="6762"/>
                      <a:pt x="1829" y="6762"/>
                      <a:pt x="1829" y="6762"/>
                    </a:cubicBezTo>
                    <a:cubicBezTo>
                      <a:pt x="1800" y="6874"/>
                      <a:pt x="1771" y="6950"/>
                      <a:pt x="1714" y="6950"/>
                    </a:cubicBezTo>
                    <a:cubicBezTo>
                      <a:pt x="1514" y="6950"/>
                      <a:pt x="1429" y="6950"/>
                      <a:pt x="1257" y="6950"/>
                    </a:cubicBezTo>
                    <a:cubicBezTo>
                      <a:pt x="1200" y="6950"/>
                      <a:pt x="0" y="6499"/>
                      <a:pt x="0" y="6236"/>
                    </a:cubicBezTo>
                    <a:cubicBezTo>
                      <a:pt x="0" y="5710"/>
                      <a:pt x="457" y="5898"/>
                      <a:pt x="714" y="5785"/>
                    </a:cubicBezTo>
                    <a:cubicBezTo>
                      <a:pt x="943" y="5672"/>
                      <a:pt x="1086" y="5485"/>
                      <a:pt x="1314" y="5409"/>
                    </a:cubicBezTo>
                    <a:cubicBezTo>
                      <a:pt x="1657" y="5259"/>
                      <a:pt x="2114" y="5485"/>
                      <a:pt x="2400" y="5297"/>
                    </a:cubicBezTo>
                    <a:cubicBezTo>
                      <a:pt x="2600" y="5109"/>
                      <a:pt x="2743" y="4808"/>
                      <a:pt x="2743" y="4395"/>
                    </a:cubicBezTo>
                    <a:cubicBezTo>
                      <a:pt x="2514" y="4358"/>
                      <a:pt x="1800" y="4395"/>
                      <a:pt x="1800" y="4095"/>
                    </a:cubicBezTo>
                    <a:cubicBezTo>
                      <a:pt x="1800" y="3944"/>
                      <a:pt x="1971" y="3832"/>
                      <a:pt x="2057" y="3832"/>
                    </a:cubicBezTo>
                    <a:cubicBezTo>
                      <a:pt x="2486" y="3644"/>
                      <a:pt x="3029" y="3231"/>
                      <a:pt x="3286" y="2930"/>
                    </a:cubicBezTo>
                    <a:cubicBezTo>
                      <a:pt x="3400" y="3005"/>
                      <a:pt x="3486" y="3043"/>
                      <a:pt x="3629" y="3043"/>
                    </a:cubicBezTo>
                    <a:cubicBezTo>
                      <a:pt x="4057" y="3043"/>
                      <a:pt x="3714" y="2291"/>
                      <a:pt x="4114" y="2216"/>
                    </a:cubicBezTo>
                    <a:cubicBezTo>
                      <a:pt x="4629" y="2141"/>
                      <a:pt x="4829" y="1953"/>
                      <a:pt x="5286" y="1953"/>
                    </a:cubicBezTo>
                    <a:cubicBezTo>
                      <a:pt x="5657" y="1841"/>
                      <a:pt x="5886" y="1578"/>
                      <a:pt x="6229" y="1578"/>
                    </a:cubicBezTo>
                    <a:cubicBezTo>
                      <a:pt x="6457" y="1578"/>
                      <a:pt x="6543" y="2104"/>
                      <a:pt x="6771" y="2104"/>
                    </a:cubicBezTo>
                    <a:cubicBezTo>
                      <a:pt x="6771" y="1953"/>
                      <a:pt x="6714" y="1878"/>
                      <a:pt x="6714" y="1766"/>
                    </a:cubicBezTo>
                    <a:cubicBezTo>
                      <a:pt x="6829" y="1578"/>
                      <a:pt x="6829" y="1578"/>
                      <a:pt x="6829" y="1578"/>
                    </a:cubicBezTo>
                    <a:cubicBezTo>
                      <a:pt x="6971" y="1916"/>
                      <a:pt x="7200" y="1878"/>
                      <a:pt x="7429" y="1991"/>
                    </a:cubicBezTo>
                    <a:cubicBezTo>
                      <a:pt x="7486" y="1991"/>
                      <a:pt x="7629" y="1991"/>
                      <a:pt x="7629" y="1991"/>
                    </a:cubicBezTo>
                    <a:cubicBezTo>
                      <a:pt x="7600" y="1878"/>
                      <a:pt x="7514" y="1766"/>
                      <a:pt x="7514" y="1653"/>
                    </a:cubicBezTo>
                    <a:cubicBezTo>
                      <a:pt x="7514" y="1427"/>
                      <a:pt x="7714" y="1427"/>
                      <a:pt x="7829" y="1427"/>
                    </a:cubicBezTo>
                    <a:cubicBezTo>
                      <a:pt x="8371" y="1427"/>
                      <a:pt x="8657" y="1803"/>
                      <a:pt x="8971" y="1991"/>
                    </a:cubicBezTo>
                    <a:cubicBezTo>
                      <a:pt x="9543" y="1991"/>
                      <a:pt x="9543" y="1991"/>
                      <a:pt x="9543" y="1991"/>
                    </a:cubicBezTo>
                    <a:cubicBezTo>
                      <a:pt x="9343" y="1878"/>
                      <a:pt x="8829" y="1653"/>
                      <a:pt x="8829" y="1352"/>
                    </a:cubicBezTo>
                    <a:cubicBezTo>
                      <a:pt x="8829" y="1089"/>
                      <a:pt x="9200" y="1165"/>
                      <a:pt x="9314" y="1127"/>
                    </a:cubicBezTo>
                    <a:cubicBezTo>
                      <a:pt x="9229" y="1014"/>
                      <a:pt x="9143" y="1014"/>
                      <a:pt x="9086" y="902"/>
                    </a:cubicBezTo>
                    <a:cubicBezTo>
                      <a:pt x="9429" y="676"/>
                      <a:pt x="9743" y="563"/>
                      <a:pt x="10143" y="563"/>
                    </a:cubicBezTo>
                    <a:cubicBezTo>
                      <a:pt x="10457" y="563"/>
                      <a:pt x="10657" y="563"/>
                      <a:pt x="10914" y="676"/>
                    </a:cubicBezTo>
                    <a:cubicBezTo>
                      <a:pt x="11171" y="676"/>
                      <a:pt x="11171" y="676"/>
                      <a:pt x="11171" y="676"/>
                    </a:cubicBezTo>
                    <a:cubicBezTo>
                      <a:pt x="11171" y="488"/>
                      <a:pt x="11171" y="488"/>
                      <a:pt x="11171" y="488"/>
                    </a:cubicBezTo>
                    <a:cubicBezTo>
                      <a:pt x="11371" y="451"/>
                      <a:pt x="11486" y="488"/>
                      <a:pt x="11686" y="488"/>
                    </a:cubicBezTo>
                    <a:cubicBezTo>
                      <a:pt x="12286" y="488"/>
                      <a:pt x="12771" y="0"/>
                      <a:pt x="13429" y="0"/>
                    </a:cubicBezTo>
                    <a:cubicBezTo>
                      <a:pt x="14143" y="0"/>
                      <a:pt x="14629" y="0"/>
                      <a:pt x="15257" y="0"/>
                    </a:cubicBezTo>
                    <a:cubicBezTo>
                      <a:pt x="16000" y="0"/>
                      <a:pt x="16543" y="639"/>
                      <a:pt x="17143" y="977"/>
                    </a:cubicBezTo>
                    <a:cubicBezTo>
                      <a:pt x="17486" y="1165"/>
                      <a:pt x="17914" y="1052"/>
                      <a:pt x="18229" y="1127"/>
                    </a:cubicBezTo>
                    <a:cubicBezTo>
                      <a:pt x="18171" y="1728"/>
                      <a:pt x="17314" y="1653"/>
                      <a:pt x="16971" y="1803"/>
                    </a:cubicBezTo>
                    <a:cubicBezTo>
                      <a:pt x="14200" y="1991"/>
                      <a:pt x="14200" y="1991"/>
                      <a:pt x="14200" y="1991"/>
                    </a:cubicBezTo>
                    <a:cubicBezTo>
                      <a:pt x="14429" y="2216"/>
                      <a:pt x="16543" y="1878"/>
                      <a:pt x="16771" y="1991"/>
                    </a:cubicBezTo>
                    <a:cubicBezTo>
                      <a:pt x="16743" y="2141"/>
                      <a:pt x="16200" y="2817"/>
                      <a:pt x="16286" y="2817"/>
                    </a:cubicBezTo>
                    <a:cubicBezTo>
                      <a:pt x="16600" y="2817"/>
                      <a:pt x="17343" y="1878"/>
                      <a:pt x="17771" y="1878"/>
                    </a:cubicBezTo>
                    <a:cubicBezTo>
                      <a:pt x="18000" y="1878"/>
                      <a:pt x="18086" y="2141"/>
                      <a:pt x="18086" y="2404"/>
                    </a:cubicBezTo>
                    <a:cubicBezTo>
                      <a:pt x="18086" y="2517"/>
                      <a:pt x="17286" y="3644"/>
                      <a:pt x="17229" y="3832"/>
                    </a:cubicBezTo>
                    <a:cubicBezTo>
                      <a:pt x="17571" y="3719"/>
                      <a:pt x="18200" y="2630"/>
                      <a:pt x="18400" y="2404"/>
                    </a:cubicBezTo>
                    <a:cubicBezTo>
                      <a:pt x="18714" y="2404"/>
                      <a:pt x="19257" y="2404"/>
                      <a:pt x="19257" y="2404"/>
                    </a:cubicBezTo>
                    <a:cubicBezTo>
                      <a:pt x="19257" y="2404"/>
                      <a:pt x="19486" y="2479"/>
                      <a:pt x="19543" y="2479"/>
                    </a:cubicBezTo>
                    <a:cubicBezTo>
                      <a:pt x="19771" y="2367"/>
                      <a:pt x="19800" y="2254"/>
                      <a:pt x="20000" y="2141"/>
                    </a:cubicBezTo>
                    <a:cubicBezTo>
                      <a:pt x="20600" y="2141"/>
                      <a:pt x="20600" y="2141"/>
                      <a:pt x="20600" y="2141"/>
                    </a:cubicBezTo>
                    <a:cubicBezTo>
                      <a:pt x="20657" y="1953"/>
                      <a:pt x="20743" y="1916"/>
                      <a:pt x="20857" y="1916"/>
                    </a:cubicBezTo>
                    <a:cubicBezTo>
                      <a:pt x="21029" y="1916"/>
                      <a:pt x="21600" y="2291"/>
                      <a:pt x="21600" y="2517"/>
                    </a:cubicBezTo>
                    <a:cubicBezTo>
                      <a:pt x="21600" y="2705"/>
                      <a:pt x="21371" y="2855"/>
                      <a:pt x="21286" y="2893"/>
                    </a:cubicBezTo>
                    <a:cubicBezTo>
                      <a:pt x="20886" y="3080"/>
                      <a:pt x="20629" y="3531"/>
                      <a:pt x="20057" y="3531"/>
                    </a:cubicBezTo>
                    <a:cubicBezTo>
                      <a:pt x="20200" y="3644"/>
                      <a:pt x="20229" y="3644"/>
                      <a:pt x="20314" y="3531"/>
                    </a:cubicBezTo>
                    <a:cubicBezTo>
                      <a:pt x="20314" y="4019"/>
                      <a:pt x="19971" y="4019"/>
                      <a:pt x="19743" y="4095"/>
                    </a:cubicBezTo>
                    <a:cubicBezTo>
                      <a:pt x="19829" y="4320"/>
                      <a:pt x="19743" y="4132"/>
                      <a:pt x="19743" y="4282"/>
                    </a:cubicBezTo>
                    <a:cubicBezTo>
                      <a:pt x="19743" y="4545"/>
                      <a:pt x="19429" y="4621"/>
                      <a:pt x="19171" y="4696"/>
                    </a:cubicBezTo>
                    <a:cubicBezTo>
                      <a:pt x="19200" y="4883"/>
                      <a:pt x="19171" y="4883"/>
                      <a:pt x="19171" y="4959"/>
                    </a:cubicBezTo>
                    <a:cubicBezTo>
                      <a:pt x="19171" y="5297"/>
                      <a:pt x="18914" y="5409"/>
                      <a:pt x="18686" y="5635"/>
                    </a:cubicBezTo>
                    <a:cubicBezTo>
                      <a:pt x="18514" y="5785"/>
                      <a:pt x="18543" y="6198"/>
                      <a:pt x="18457" y="6349"/>
                    </a:cubicBezTo>
                    <a:cubicBezTo>
                      <a:pt x="18600" y="6461"/>
                      <a:pt x="18714" y="6349"/>
                      <a:pt x="18829" y="6349"/>
                    </a:cubicBezTo>
                    <a:cubicBezTo>
                      <a:pt x="19057" y="6349"/>
                      <a:pt x="19229" y="6536"/>
                      <a:pt x="19343" y="6687"/>
                    </a:cubicBezTo>
                    <a:cubicBezTo>
                      <a:pt x="19286" y="6724"/>
                      <a:pt x="19200" y="6762"/>
                      <a:pt x="19114" y="6762"/>
                    </a:cubicBezTo>
                    <a:cubicBezTo>
                      <a:pt x="19171" y="7025"/>
                      <a:pt x="19657" y="6950"/>
                      <a:pt x="19657" y="7363"/>
                    </a:cubicBezTo>
                    <a:cubicBezTo>
                      <a:pt x="19657" y="7738"/>
                      <a:pt x="19000" y="7588"/>
                      <a:pt x="18771" y="7588"/>
                    </a:cubicBezTo>
                    <a:cubicBezTo>
                      <a:pt x="18629" y="7588"/>
                      <a:pt x="18514" y="7738"/>
                      <a:pt x="18514" y="7851"/>
                    </a:cubicBezTo>
                    <a:cubicBezTo>
                      <a:pt x="18514" y="8152"/>
                      <a:pt x="18743" y="8152"/>
                      <a:pt x="18943" y="8152"/>
                    </a:cubicBezTo>
                    <a:cubicBezTo>
                      <a:pt x="18943" y="8490"/>
                      <a:pt x="19114" y="8602"/>
                      <a:pt x="19114" y="8865"/>
                    </a:cubicBezTo>
                    <a:cubicBezTo>
                      <a:pt x="19114" y="8978"/>
                      <a:pt x="19057" y="9128"/>
                      <a:pt x="19114" y="9203"/>
                    </a:cubicBezTo>
                    <a:cubicBezTo>
                      <a:pt x="18914" y="9203"/>
                      <a:pt x="18714" y="9203"/>
                      <a:pt x="18714" y="9429"/>
                    </a:cubicBezTo>
                    <a:cubicBezTo>
                      <a:pt x="18714" y="9692"/>
                      <a:pt x="19057" y="9692"/>
                      <a:pt x="19229" y="9767"/>
                    </a:cubicBezTo>
                    <a:cubicBezTo>
                      <a:pt x="19143" y="10030"/>
                      <a:pt x="18886" y="10180"/>
                      <a:pt x="18657" y="10218"/>
                    </a:cubicBezTo>
                    <a:cubicBezTo>
                      <a:pt x="18657" y="10330"/>
                      <a:pt x="18714" y="10406"/>
                      <a:pt x="18771" y="10443"/>
                    </a:cubicBezTo>
                    <a:cubicBezTo>
                      <a:pt x="18686" y="10969"/>
                      <a:pt x="18200" y="10744"/>
                      <a:pt x="18086" y="11082"/>
                    </a:cubicBezTo>
                    <a:cubicBezTo>
                      <a:pt x="17943" y="10969"/>
                      <a:pt x="17800" y="10894"/>
                      <a:pt x="17714" y="10706"/>
                    </a:cubicBezTo>
                    <a:cubicBezTo>
                      <a:pt x="17514" y="10706"/>
                      <a:pt x="17514" y="10706"/>
                      <a:pt x="17514" y="10706"/>
                    </a:cubicBezTo>
                    <a:cubicBezTo>
                      <a:pt x="17657" y="11157"/>
                      <a:pt x="18200" y="11007"/>
                      <a:pt x="18200" y="11457"/>
                    </a:cubicBezTo>
                    <a:cubicBezTo>
                      <a:pt x="18200" y="11645"/>
                      <a:pt x="18171" y="11908"/>
                      <a:pt x="18029" y="11908"/>
                    </a:cubicBezTo>
                    <a:cubicBezTo>
                      <a:pt x="17800" y="11908"/>
                      <a:pt x="17400" y="11495"/>
                      <a:pt x="17343" y="11157"/>
                    </a:cubicBezTo>
                    <a:cubicBezTo>
                      <a:pt x="17229" y="11194"/>
                      <a:pt x="17200" y="11157"/>
                      <a:pt x="17171" y="11157"/>
                    </a:cubicBezTo>
                    <a:cubicBezTo>
                      <a:pt x="17171" y="11420"/>
                      <a:pt x="17171" y="11420"/>
                      <a:pt x="17171" y="11420"/>
                    </a:cubicBezTo>
                    <a:cubicBezTo>
                      <a:pt x="17629" y="12021"/>
                      <a:pt x="18429" y="12284"/>
                      <a:pt x="18429" y="13223"/>
                    </a:cubicBezTo>
                    <a:cubicBezTo>
                      <a:pt x="18429" y="13411"/>
                      <a:pt x="18229" y="13448"/>
                      <a:pt x="18086" y="13448"/>
                    </a:cubicBezTo>
                    <a:cubicBezTo>
                      <a:pt x="17486" y="13448"/>
                      <a:pt x="17629" y="12622"/>
                      <a:pt x="17114" y="12622"/>
                    </a:cubicBezTo>
                    <a:cubicBezTo>
                      <a:pt x="17029" y="12622"/>
                      <a:pt x="16971" y="12659"/>
                      <a:pt x="16914" y="12622"/>
                    </a:cubicBezTo>
                    <a:cubicBezTo>
                      <a:pt x="16914" y="12847"/>
                      <a:pt x="17029" y="12885"/>
                      <a:pt x="17029" y="13035"/>
                    </a:cubicBezTo>
                    <a:cubicBezTo>
                      <a:pt x="17029" y="13185"/>
                      <a:pt x="16829" y="13223"/>
                      <a:pt x="16771" y="13223"/>
                    </a:cubicBezTo>
                    <a:cubicBezTo>
                      <a:pt x="16771" y="13749"/>
                      <a:pt x="17886" y="13674"/>
                      <a:pt x="18143" y="13786"/>
                    </a:cubicBezTo>
                    <a:cubicBezTo>
                      <a:pt x="17971" y="13974"/>
                      <a:pt x="17829" y="14012"/>
                      <a:pt x="17600" y="14087"/>
                    </a:cubicBezTo>
                    <a:cubicBezTo>
                      <a:pt x="17200" y="14275"/>
                      <a:pt x="17057" y="14763"/>
                      <a:pt x="16686" y="14913"/>
                    </a:cubicBezTo>
                    <a:cubicBezTo>
                      <a:pt x="16257" y="15101"/>
                      <a:pt x="15886" y="15026"/>
                      <a:pt x="15400" y="15327"/>
                    </a:cubicBezTo>
                    <a:cubicBezTo>
                      <a:pt x="14800" y="15327"/>
                      <a:pt x="14800" y="15327"/>
                      <a:pt x="14800" y="15327"/>
                    </a:cubicBezTo>
                    <a:cubicBezTo>
                      <a:pt x="14686" y="15402"/>
                      <a:pt x="14571" y="15477"/>
                      <a:pt x="14571" y="15590"/>
                    </a:cubicBezTo>
                    <a:cubicBezTo>
                      <a:pt x="14229" y="15890"/>
                      <a:pt x="14229" y="15890"/>
                      <a:pt x="14229" y="15890"/>
                    </a:cubicBezTo>
                    <a:cubicBezTo>
                      <a:pt x="14000" y="16153"/>
                      <a:pt x="14000" y="16454"/>
                      <a:pt x="13800" y="16717"/>
                    </a:cubicBezTo>
                    <a:cubicBezTo>
                      <a:pt x="13543" y="17055"/>
                      <a:pt x="13114" y="16979"/>
                      <a:pt x="12857" y="17205"/>
                    </a:cubicBezTo>
                    <a:cubicBezTo>
                      <a:pt x="12657" y="17205"/>
                      <a:pt x="12657" y="17205"/>
                      <a:pt x="12657" y="17205"/>
                    </a:cubicBezTo>
                    <a:cubicBezTo>
                      <a:pt x="12657" y="16867"/>
                      <a:pt x="12657" y="16867"/>
                      <a:pt x="12657" y="16867"/>
                    </a:cubicBezTo>
                    <a:cubicBezTo>
                      <a:pt x="12486" y="16979"/>
                      <a:pt x="12514" y="17167"/>
                      <a:pt x="12429" y="17280"/>
                    </a:cubicBezTo>
                    <a:cubicBezTo>
                      <a:pt x="12143" y="17656"/>
                      <a:pt x="11457" y="17505"/>
                      <a:pt x="11457" y="18031"/>
                    </a:cubicBezTo>
                    <a:cubicBezTo>
                      <a:pt x="11457" y="18106"/>
                      <a:pt x="11486" y="18144"/>
                      <a:pt x="11486" y="18219"/>
                    </a:cubicBezTo>
                    <a:cubicBezTo>
                      <a:pt x="11457" y="18257"/>
                      <a:pt x="11400" y="18332"/>
                      <a:pt x="11400" y="18407"/>
                    </a:cubicBezTo>
                    <a:cubicBezTo>
                      <a:pt x="11400" y="18520"/>
                      <a:pt x="11571" y="18595"/>
                      <a:pt x="11571" y="18783"/>
                    </a:cubicBezTo>
                    <a:cubicBezTo>
                      <a:pt x="11571" y="19346"/>
                      <a:pt x="10971" y="19158"/>
                      <a:pt x="10971" y="19647"/>
                    </a:cubicBezTo>
                    <a:cubicBezTo>
                      <a:pt x="10971" y="19947"/>
                      <a:pt x="10943" y="20398"/>
                      <a:pt x="10971" y="20548"/>
                    </a:cubicBezTo>
                    <a:cubicBezTo>
                      <a:pt x="10686" y="20736"/>
                      <a:pt x="10829" y="21600"/>
                      <a:pt x="10486" y="21600"/>
                    </a:cubicBezTo>
                    <a:cubicBezTo>
                      <a:pt x="10400" y="21600"/>
                      <a:pt x="10371" y="21525"/>
                      <a:pt x="10343" y="21450"/>
                    </a:cubicBezTo>
                    <a:cubicBezTo>
                      <a:pt x="10171" y="21450"/>
                      <a:pt x="10171" y="21562"/>
                      <a:pt x="10086" y="21562"/>
                    </a:cubicBezTo>
                    <a:cubicBezTo>
                      <a:pt x="9771" y="21562"/>
                      <a:pt x="9800" y="20811"/>
                      <a:pt x="9486" y="20811"/>
                    </a:cubicBezTo>
                    <a:cubicBezTo>
                      <a:pt x="9314" y="20811"/>
                      <a:pt x="9114" y="20999"/>
                      <a:pt x="8943" y="21037"/>
                    </a:cubicBezTo>
                    <a:cubicBezTo>
                      <a:pt x="8857" y="20661"/>
                      <a:pt x="8743" y="20774"/>
                      <a:pt x="8543" y="20548"/>
                    </a:cubicBezTo>
                    <a:cubicBezTo>
                      <a:pt x="8457" y="20511"/>
                      <a:pt x="8486" y="20248"/>
                      <a:pt x="8457" y="20248"/>
                    </a:cubicBezTo>
                    <a:cubicBezTo>
                      <a:pt x="8200" y="19947"/>
                      <a:pt x="7714" y="19233"/>
                      <a:pt x="7714" y="18745"/>
                    </a:cubicBezTo>
                    <a:cubicBezTo>
                      <a:pt x="7714" y="18520"/>
                      <a:pt x="7829" y="18557"/>
                      <a:pt x="7914" y="18407"/>
                    </a:cubicBezTo>
                    <a:cubicBezTo>
                      <a:pt x="7714" y="18106"/>
                      <a:pt x="7657" y="18520"/>
                      <a:pt x="7429" y="18369"/>
                    </a:cubicBezTo>
                    <a:cubicBezTo>
                      <a:pt x="7400" y="18294"/>
                      <a:pt x="7343" y="17994"/>
                      <a:pt x="7314" y="17843"/>
                    </a:cubicBezTo>
                    <a:cubicBezTo>
                      <a:pt x="7229" y="17505"/>
                      <a:pt x="6886" y="17318"/>
                      <a:pt x="6886" y="16867"/>
                    </a:cubicBezTo>
                    <a:cubicBezTo>
                      <a:pt x="6886" y="16717"/>
                      <a:pt x="6971" y="16641"/>
                      <a:pt x="7029" y="16454"/>
                    </a:cubicBezTo>
                    <a:cubicBezTo>
                      <a:pt x="6943" y="16416"/>
                      <a:pt x="6857" y="16378"/>
                      <a:pt x="6771" y="16454"/>
                    </a:cubicBezTo>
                    <a:cubicBezTo>
                      <a:pt x="6771" y="16078"/>
                      <a:pt x="6771" y="16078"/>
                      <a:pt x="6771" y="16078"/>
                    </a:cubicBezTo>
                    <a:cubicBezTo>
                      <a:pt x="6943" y="15777"/>
                      <a:pt x="7029" y="15439"/>
                      <a:pt x="7286" y="15176"/>
                    </a:cubicBezTo>
                    <a:lnTo>
                      <a:pt x="7286" y="15139"/>
                    </a:ln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/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89" name="iSḻiḑè"/>
              <p:cNvSpPr/>
              <p:nvPr/>
            </p:nvSpPr>
            <p:spPr>
              <a:xfrm>
                <a:off x="3332218" y="813439"/>
                <a:ext cx="84219" cy="5351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5400" y="21600"/>
                    </a:moveTo>
                    <a:cubicBezTo>
                      <a:pt x="3000" y="21600"/>
                      <a:pt x="0" y="12600"/>
                      <a:pt x="0" y="8100"/>
                    </a:cubicBezTo>
                    <a:cubicBezTo>
                      <a:pt x="0" y="1800"/>
                      <a:pt x="3600" y="0"/>
                      <a:pt x="6000" y="0"/>
                    </a:cubicBezTo>
                    <a:cubicBezTo>
                      <a:pt x="12600" y="0"/>
                      <a:pt x="15000" y="10800"/>
                      <a:pt x="21600" y="14400"/>
                    </a:cubicBezTo>
                    <a:cubicBezTo>
                      <a:pt x="21000" y="20700"/>
                      <a:pt x="15600" y="21600"/>
                      <a:pt x="11400" y="21600"/>
                    </a:cubicBezTo>
                    <a:lnTo>
                      <a:pt x="5400" y="21600"/>
                    </a:ln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90" name="îs1îḑê"/>
              <p:cNvSpPr/>
              <p:nvPr/>
            </p:nvSpPr>
            <p:spPr>
              <a:xfrm>
                <a:off x="4393363" y="535156"/>
                <a:ext cx="47725" cy="2675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480" y="21600"/>
                    </a:moveTo>
                    <a:cubicBezTo>
                      <a:pt x="2160" y="21600"/>
                      <a:pt x="0" y="14400"/>
                      <a:pt x="0" y="9000"/>
                    </a:cubicBezTo>
                    <a:cubicBezTo>
                      <a:pt x="0" y="5400"/>
                      <a:pt x="3240" y="1800"/>
                      <a:pt x="4320" y="0"/>
                    </a:cubicBezTo>
                    <a:cubicBezTo>
                      <a:pt x="12960" y="0"/>
                      <a:pt x="12960" y="0"/>
                      <a:pt x="12960" y="0"/>
                    </a:cubicBezTo>
                    <a:cubicBezTo>
                      <a:pt x="12960" y="5400"/>
                      <a:pt x="12960" y="7200"/>
                      <a:pt x="12960" y="9000"/>
                    </a:cubicBezTo>
                    <a:cubicBezTo>
                      <a:pt x="21600" y="9000"/>
                      <a:pt x="21600" y="9000"/>
                      <a:pt x="21600" y="9000"/>
                    </a:cubicBezTo>
                    <a:cubicBezTo>
                      <a:pt x="18360" y="12600"/>
                      <a:pt x="10800" y="21600"/>
                      <a:pt x="6480" y="2160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91" name="ïśļîḋé"/>
              <p:cNvSpPr/>
              <p:nvPr/>
            </p:nvSpPr>
            <p:spPr>
              <a:xfrm>
                <a:off x="3203084" y="1632233"/>
                <a:ext cx="193703" cy="17928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54" y="18090"/>
                    </a:moveTo>
                    <a:cubicBezTo>
                      <a:pt x="527" y="18090"/>
                      <a:pt x="0" y="17280"/>
                      <a:pt x="0" y="16740"/>
                    </a:cubicBezTo>
                    <a:cubicBezTo>
                      <a:pt x="0" y="16470"/>
                      <a:pt x="2107" y="14850"/>
                      <a:pt x="2107" y="14580"/>
                    </a:cubicBezTo>
                    <a:cubicBezTo>
                      <a:pt x="2107" y="13770"/>
                      <a:pt x="2107" y="13770"/>
                      <a:pt x="2107" y="13770"/>
                    </a:cubicBezTo>
                    <a:cubicBezTo>
                      <a:pt x="1580" y="13770"/>
                      <a:pt x="1317" y="13770"/>
                      <a:pt x="1054" y="13230"/>
                    </a:cubicBezTo>
                    <a:cubicBezTo>
                      <a:pt x="4478" y="11610"/>
                      <a:pt x="5532" y="6210"/>
                      <a:pt x="7376" y="3510"/>
                    </a:cubicBezTo>
                    <a:cubicBezTo>
                      <a:pt x="8429" y="1890"/>
                      <a:pt x="8956" y="0"/>
                      <a:pt x="10800" y="0"/>
                    </a:cubicBezTo>
                    <a:cubicBezTo>
                      <a:pt x="11327" y="0"/>
                      <a:pt x="11590" y="810"/>
                      <a:pt x="11590" y="1080"/>
                    </a:cubicBezTo>
                    <a:cubicBezTo>
                      <a:pt x="11590" y="3780"/>
                      <a:pt x="9220" y="5130"/>
                      <a:pt x="8429" y="7290"/>
                    </a:cubicBezTo>
                    <a:cubicBezTo>
                      <a:pt x="8429" y="8370"/>
                      <a:pt x="8429" y="8370"/>
                      <a:pt x="8429" y="8370"/>
                    </a:cubicBezTo>
                    <a:cubicBezTo>
                      <a:pt x="9483" y="8100"/>
                      <a:pt x="9483" y="7290"/>
                      <a:pt x="10273" y="7290"/>
                    </a:cubicBezTo>
                    <a:cubicBezTo>
                      <a:pt x="11063" y="7290"/>
                      <a:pt x="11590" y="7560"/>
                      <a:pt x="12117" y="7830"/>
                    </a:cubicBezTo>
                    <a:cubicBezTo>
                      <a:pt x="11590" y="8640"/>
                      <a:pt x="11590" y="8640"/>
                      <a:pt x="11590" y="8640"/>
                    </a:cubicBezTo>
                    <a:cubicBezTo>
                      <a:pt x="11590" y="9720"/>
                      <a:pt x="11590" y="9720"/>
                      <a:pt x="11590" y="9720"/>
                    </a:cubicBezTo>
                    <a:cubicBezTo>
                      <a:pt x="13698" y="9720"/>
                      <a:pt x="13698" y="9720"/>
                      <a:pt x="13698" y="9720"/>
                    </a:cubicBezTo>
                    <a:cubicBezTo>
                      <a:pt x="13698" y="9720"/>
                      <a:pt x="13698" y="10260"/>
                      <a:pt x="13698" y="10260"/>
                    </a:cubicBezTo>
                    <a:cubicBezTo>
                      <a:pt x="15015" y="9720"/>
                      <a:pt x="15015" y="9720"/>
                      <a:pt x="15015" y="9720"/>
                    </a:cubicBezTo>
                    <a:cubicBezTo>
                      <a:pt x="16332" y="9990"/>
                      <a:pt x="17912" y="9990"/>
                      <a:pt x="18439" y="9720"/>
                    </a:cubicBezTo>
                    <a:cubicBezTo>
                      <a:pt x="18439" y="10800"/>
                      <a:pt x="18176" y="11880"/>
                      <a:pt x="18176" y="13770"/>
                    </a:cubicBezTo>
                    <a:cubicBezTo>
                      <a:pt x="18439" y="13500"/>
                      <a:pt x="19229" y="13230"/>
                      <a:pt x="19493" y="13230"/>
                    </a:cubicBezTo>
                    <a:cubicBezTo>
                      <a:pt x="19493" y="14310"/>
                      <a:pt x="18439" y="14580"/>
                      <a:pt x="18439" y="15120"/>
                    </a:cubicBezTo>
                    <a:cubicBezTo>
                      <a:pt x="18439" y="15660"/>
                      <a:pt x="19229" y="16200"/>
                      <a:pt x="19229" y="17010"/>
                    </a:cubicBezTo>
                    <a:cubicBezTo>
                      <a:pt x="20283" y="17010"/>
                      <a:pt x="20020" y="16740"/>
                      <a:pt x="20810" y="16200"/>
                    </a:cubicBezTo>
                    <a:cubicBezTo>
                      <a:pt x="20810" y="17820"/>
                      <a:pt x="21600" y="17550"/>
                      <a:pt x="21600" y="18900"/>
                    </a:cubicBezTo>
                    <a:cubicBezTo>
                      <a:pt x="21600" y="20250"/>
                      <a:pt x="20810" y="21600"/>
                      <a:pt x="19756" y="21600"/>
                    </a:cubicBezTo>
                    <a:cubicBezTo>
                      <a:pt x="18966" y="21600"/>
                      <a:pt x="18702" y="20790"/>
                      <a:pt x="18702" y="20250"/>
                    </a:cubicBezTo>
                    <a:cubicBezTo>
                      <a:pt x="18176" y="20250"/>
                      <a:pt x="18176" y="19980"/>
                      <a:pt x="17649" y="19980"/>
                    </a:cubicBezTo>
                    <a:cubicBezTo>
                      <a:pt x="16859" y="19980"/>
                      <a:pt x="17385" y="17820"/>
                      <a:pt x="16595" y="16740"/>
                    </a:cubicBezTo>
                    <a:cubicBezTo>
                      <a:pt x="15541" y="18090"/>
                      <a:pt x="14488" y="19980"/>
                      <a:pt x="13171" y="19980"/>
                    </a:cubicBezTo>
                    <a:cubicBezTo>
                      <a:pt x="12907" y="19980"/>
                      <a:pt x="12380" y="20250"/>
                      <a:pt x="12380" y="19980"/>
                    </a:cubicBezTo>
                    <a:cubicBezTo>
                      <a:pt x="12380" y="18900"/>
                      <a:pt x="13434" y="18900"/>
                      <a:pt x="13698" y="18090"/>
                    </a:cubicBezTo>
                    <a:cubicBezTo>
                      <a:pt x="12644" y="18090"/>
                      <a:pt x="11063" y="18900"/>
                      <a:pt x="10537" y="17550"/>
                    </a:cubicBezTo>
                    <a:cubicBezTo>
                      <a:pt x="9746" y="17820"/>
                      <a:pt x="8956" y="18090"/>
                      <a:pt x="8166" y="18090"/>
                    </a:cubicBezTo>
                    <a:cubicBezTo>
                      <a:pt x="6585" y="18090"/>
                      <a:pt x="6059" y="17280"/>
                      <a:pt x="4741" y="17280"/>
                    </a:cubicBezTo>
                    <a:cubicBezTo>
                      <a:pt x="2898" y="17280"/>
                      <a:pt x="2371" y="18090"/>
                      <a:pt x="1054" y="1809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92" name="ïsľíḑe"/>
              <p:cNvSpPr/>
              <p:nvPr/>
            </p:nvSpPr>
            <p:spPr>
              <a:xfrm>
                <a:off x="1487848" y="2282452"/>
                <a:ext cx="1187474" cy="75992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629" y="5815"/>
                    </a:moveTo>
                    <a:cubicBezTo>
                      <a:pt x="10671" y="6007"/>
                      <a:pt x="10714" y="6135"/>
                      <a:pt x="10714" y="6263"/>
                    </a:cubicBezTo>
                    <a:cubicBezTo>
                      <a:pt x="10714" y="6774"/>
                      <a:pt x="10586" y="6966"/>
                      <a:pt x="10543" y="7413"/>
                    </a:cubicBezTo>
                    <a:cubicBezTo>
                      <a:pt x="10543" y="9011"/>
                      <a:pt x="10543" y="9011"/>
                      <a:pt x="10543" y="9011"/>
                    </a:cubicBezTo>
                    <a:cubicBezTo>
                      <a:pt x="10500" y="9202"/>
                      <a:pt x="10629" y="9458"/>
                      <a:pt x="10671" y="9586"/>
                    </a:cubicBezTo>
                    <a:cubicBezTo>
                      <a:pt x="10757" y="9841"/>
                      <a:pt x="10671" y="9969"/>
                      <a:pt x="10757" y="10225"/>
                    </a:cubicBezTo>
                    <a:cubicBezTo>
                      <a:pt x="10800" y="10480"/>
                      <a:pt x="11057" y="10864"/>
                      <a:pt x="11186" y="11056"/>
                    </a:cubicBezTo>
                    <a:cubicBezTo>
                      <a:pt x="11529" y="11567"/>
                      <a:pt x="11529" y="12014"/>
                      <a:pt x="12043" y="12270"/>
                    </a:cubicBezTo>
                    <a:cubicBezTo>
                      <a:pt x="12214" y="12334"/>
                      <a:pt x="12214" y="12589"/>
                      <a:pt x="12343" y="12589"/>
                    </a:cubicBezTo>
                    <a:cubicBezTo>
                      <a:pt x="12729" y="12589"/>
                      <a:pt x="13029" y="12206"/>
                      <a:pt x="13371" y="12206"/>
                    </a:cubicBezTo>
                    <a:cubicBezTo>
                      <a:pt x="13586" y="12206"/>
                      <a:pt x="13671" y="12398"/>
                      <a:pt x="13757" y="12398"/>
                    </a:cubicBezTo>
                    <a:cubicBezTo>
                      <a:pt x="13886" y="12398"/>
                      <a:pt x="14014" y="12014"/>
                      <a:pt x="14014" y="11950"/>
                    </a:cubicBezTo>
                    <a:cubicBezTo>
                      <a:pt x="14100" y="11567"/>
                      <a:pt x="14400" y="11247"/>
                      <a:pt x="14400" y="10800"/>
                    </a:cubicBezTo>
                    <a:cubicBezTo>
                      <a:pt x="14400" y="9969"/>
                      <a:pt x="15043" y="9714"/>
                      <a:pt x="15557" y="9714"/>
                    </a:cubicBezTo>
                    <a:cubicBezTo>
                      <a:pt x="15729" y="9714"/>
                      <a:pt x="15857" y="9714"/>
                      <a:pt x="15943" y="9778"/>
                    </a:cubicBezTo>
                    <a:cubicBezTo>
                      <a:pt x="15986" y="9841"/>
                      <a:pt x="16243" y="9841"/>
                      <a:pt x="16371" y="9841"/>
                    </a:cubicBezTo>
                    <a:cubicBezTo>
                      <a:pt x="16371" y="9905"/>
                      <a:pt x="16371" y="10033"/>
                      <a:pt x="16371" y="10097"/>
                    </a:cubicBezTo>
                    <a:cubicBezTo>
                      <a:pt x="16371" y="10480"/>
                      <a:pt x="16029" y="10992"/>
                      <a:pt x="16029" y="11503"/>
                    </a:cubicBezTo>
                    <a:cubicBezTo>
                      <a:pt x="16029" y="12014"/>
                      <a:pt x="15943" y="12206"/>
                      <a:pt x="15814" y="12462"/>
                    </a:cubicBezTo>
                    <a:cubicBezTo>
                      <a:pt x="15814" y="12398"/>
                      <a:pt x="15814" y="12334"/>
                      <a:pt x="15814" y="12270"/>
                    </a:cubicBezTo>
                    <a:cubicBezTo>
                      <a:pt x="15771" y="12270"/>
                      <a:pt x="15729" y="12270"/>
                      <a:pt x="15643" y="12270"/>
                    </a:cubicBezTo>
                    <a:cubicBezTo>
                      <a:pt x="15643" y="12589"/>
                      <a:pt x="15643" y="13228"/>
                      <a:pt x="15643" y="13612"/>
                    </a:cubicBezTo>
                    <a:cubicBezTo>
                      <a:pt x="15643" y="13867"/>
                      <a:pt x="15429" y="13995"/>
                      <a:pt x="15300" y="14187"/>
                    </a:cubicBezTo>
                    <a:cubicBezTo>
                      <a:pt x="15300" y="14251"/>
                      <a:pt x="15300" y="14251"/>
                      <a:pt x="15300" y="14315"/>
                    </a:cubicBezTo>
                    <a:cubicBezTo>
                      <a:pt x="15300" y="14507"/>
                      <a:pt x="15429" y="14634"/>
                      <a:pt x="15557" y="14634"/>
                    </a:cubicBezTo>
                    <a:cubicBezTo>
                      <a:pt x="16157" y="14634"/>
                      <a:pt x="16671" y="14443"/>
                      <a:pt x="17357" y="14443"/>
                    </a:cubicBezTo>
                    <a:cubicBezTo>
                      <a:pt x="17786" y="14443"/>
                      <a:pt x="17914" y="14954"/>
                      <a:pt x="18257" y="15082"/>
                    </a:cubicBezTo>
                    <a:cubicBezTo>
                      <a:pt x="18257" y="15209"/>
                      <a:pt x="18257" y="15337"/>
                      <a:pt x="18257" y="15465"/>
                    </a:cubicBezTo>
                    <a:cubicBezTo>
                      <a:pt x="18257" y="15721"/>
                      <a:pt x="18214" y="16424"/>
                      <a:pt x="18129" y="16743"/>
                    </a:cubicBezTo>
                    <a:cubicBezTo>
                      <a:pt x="18129" y="17382"/>
                      <a:pt x="18129" y="17957"/>
                      <a:pt x="18129" y="18469"/>
                    </a:cubicBezTo>
                    <a:cubicBezTo>
                      <a:pt x="18129" y="19044"/>
                      <a:pt x="18514" y="19299"/>
                      <a:pt x="18814" y="19555"/>
                    </a:cubicBezTo>
                    <a:cubicBezTo>
                      <a:pt x="19029" y="19683"/>
                      <a:pt x="19029" y="20194"/>
                      <a:pt x="19329" y="20194"/>
                    </a:cubicBezTo>
                    <a:cubicBezTo>
                      <a:pt x="19843" y="20194"/>
                      <a:pt x="20100" y="19619"/>
                      <a:pt x="20529" y="19619"/>
                    </a:cubicBezTo>
                    <a:cubicBezTo>
                      <a:pt x="21043" y="19619"/>
                      <a:pt x="21300" y="20194"/>
                      <a:pt x="21600" y="20578"/>
                    </a:cubicBezTo>
                    <a:cubicBezTo>
                      <a:pt x="21557" y="20641"/>
                      <a:pt x="21171" y="21280"/>
                      <a:pt x="21129" y="21217"/>
                    </a:cubicBezTo>
                    <a:cubicBezTo>
                      <a:pt x="21086" y="21153"/>
                      <a:pt x="20914" y="21089"/>
                      <a:pt x="20914" y="21025"/>
                    </a:cubicBezTo>
                    <a:cubicBezTo>
                      <a:pt x="20914" y="20897"/>
                      <a:pt x="21000" y="20833"/>
                      <a:pt x="21043" y="20705"/>
                    </a:cubicBezTo>
                    <a:cubicBezTo>
                      <a:pt x="20829" y="20578"/>
                      <a:pt x="20743" y="20194"/>
                      <a:pt x="20571" y="20194"/>
                    </a:cubicBezTo>
                    <a:cubicBezTo>
                      <a:pt x="20400" y="20194"/>
                      <a:pt x="19886" y="20769"/>
                      <a:pt x="19886" y="20961"/>
                    </a:cubicBezTo>
                    <a:cubicBezTo>
                      <a:pt x="19886" y="21089"/>
                      <a:pt x="20014" y="21153"/>
                      <a:pt x="20057" y="21217"/>
                    </a:cubicBezTo>
                    <a:cubicBezTo>
                      <a:pt x="20014" y="21472"/>
                      <a:pt x="19929" y="21600"/>
                      <a:pt x="19757" y="21600"/>
                    </a:cubicBezTo>
                    <a:cubicBezTo>
                      <a:pt x="19457" y="21600"/>
                      <a:pt x="19286" y="21089"/>
                      <a:pt x="19114" y="20833"/>
                    </a:cubicBezTo>
                    <a:cubicBezTo>
                      <a:pt x="18986" y="20641"/>
                      <a:pt x="18686" y="20833"/>
                      <a:pt x="18557" y="20833"/>
                    </a:cubicBezTo>
                    <a:cubicBezTo>
                      <a:pt x="18514" y="20833"/>
                      <a:pt x="18471" y="20705"/>
                      <a:pt x="18471" y="20641"/>
                    </a:cubicBezTo>
                    <a:cubicBezTo>
                      <a:pt x="18171" y="20578"/>
                      <a:pt x="18171" y="20322"/>
                      <a:pt x="18129" y="20066"/>
                    </a:cubicBezTo>
                    <a:cubicBezTo>
                      <a:pt x="18043" y="19875"/>
                      <a:pt x="17400" y="19299"/>
                      <a:pt x="17400" y="19299"/>
                    </a:cubicBezTo>
                    <a:cubicBezTo>
                      <a:pt x="17357" y="19427"/>
                      <a:pt x="17357" y="19491"/>
                      <a:pt x="17400" y="19555"/>
                    </a:cubicBezTo>
                    <a:cubicBezTo>
                      <a:pt x="17229" y="19555"/>
                      <a:pt x="17229" y="19555"/>
                      <a:pt x="17229" y="19555"/>
                    </a:cubicBezTo>
                    <a:cubicBezTo>
                      <a:pt x="16929" y="19299"/>
                      <a:pt x="17100" y="18916"/>
                      <a:pt x="17014" y="18469"/>
                    </a:cubicBezTo>
                    <a:cubicBezTo>
                      <a:pt x="16971" y="18213"/>
                      <a:pt x="16886" y="18149"/>
                      <a:pt x="16757" y="17957"/>
                    </a:cubicBezTo>
                    <a:cubicBezTo>
                      <a:pt x="16457" y="17510"/>
                      <a:pt x="16157" y="17254"/>
                      <a:pt x="16029" y="16615"/>
                    </a:cubicBezTo>
                    <a:cubicBezTo>
                      <a:pt x="15986" y="16615"/>
                      <a:pt x="15943" y="16615"/>
                      <a:pt x="15943" y="16615"/>
                    </a:cubicBezTo>
                    <a:cubicBezTo>
                      <a:pt x="15771" y="16615"/>
                      <a:pt x="15686" y="16743"/>
                      <a:pt x="15557" y="16743"/>
                    </a:cubicBezTo>
                    <a:cubicBezTo>
                      <a:pt x="15214" y="16743"/>
                      <a:pt x="15000" y="16424"/>
                      <a:pt x="14786" y="16296"/>
                    </a:cubicBezTo>
                    <a:cubicBezTo>
                      <a:pt x="14400" y="16040"/>
                      <a:pt x="14143" y="16168"/>
                      <a:pt x="13757" y="15849"/>
                    </a:cubicBezTo>
                    <a:cubicBezTo>
                      <a:pt x="13200" y="15465"/>
                      <a:pt x="13114" y="14826"/>
                      <a:pt x="12600" y="14443"/>
                    </a:cubicBezTo>
                    <a:cubicBezTo>
                      <a:pt x="12471" y="14443"/>
                      <a:pt x="12471" y="14443"/>
                      <a:pt x="12471" y="14443"/>
                    </a:cubicBezTo>
                    <a:cubicBezTo>
                      <a:pt x="12343" y="14315"/>
                      <a:pt x="12214" y="14187"/>
                      <a:pt x="12086" y="14187"/>
                    </a:cubicBezTo>
                    <a:cubicBezTo>
                      <a:pt x="11743" y="14187"/>
                      <a:pt x="11657" y="14762"/>
                      <a:pt x="11357" y="14762"/>
                    </a:cubicBezTo>
                    <a:cubicBezTo>
                      <a:pt x="11186" y="14762"/>
                      <a:pt x="11057" y="14570"/>
                      <a:pt x="10971" y="14507"/>
                    </a:cubicBezTo>
                    <a:cubicBezTo>
                      <a:pt x="10800" y="14379"/>
                      <a:pt x="10671" y="14443"/>
                      <a:pt x="10543" y="14443"/>
                    </a:cubicBezTo>
                    <a:cubicBezTo>
                      <a:pt x="10329" y="14443"/>
                      <a:pt x="9686" y="13804"/>
                      <a:pt x="9471" y="13676"/>
                    </a:cubicBezTo>
                    <a:cubicBezTo>
                      <a:pt x="9257" y="13484"/>
                      <a:pt x="9129" y="13676"/>
                      <a:pt x="8914" y="13612"/>
                    </a:cubicBezTo>
                    <a:cubicBezTo>
                      <a:pt x="8657" y="13484"/>
                      <a:pt x="8614" y="13164"/>
                      <a:pt x="8357" y="12973"/>
                    </a:cubicBezTo>
                    <a:cubicBezTo>
                      <a:pt x="8100" y="12781"/>
                      <a:pt x="7971" y="12845"/>
                      <a:pt x="7714" y="12653"/>
                    </a:cubicBezTo>
                    <a:cubicBezTo>
                      <a:pt x="7586" y="12589"/>
                      <a:pt x="7586" y="12525"/>
                      <a:pt x="7500" y="12462"/>
                    </a:cubicBezTo>
                    <a:cubicBezTo>
                      <a:pt x="7286" y="12142"/>
                      <a:pt x="6686" y="11950"/>
                      <a:pt x="6643" y="11567"/>
                    </a:cubicBezTo>
                    <a:cubicBezTo>
                      <a:pt x="6471" y="11567"/>
                      <a:pt x="6343" y="11247"/>
                      <a:pt x="6343" y="10992"/>
                    </a:cubicBezTo>
                    <a:cubicBezTo>
                      <a:pt x="6343" y="10672"/>
                      <a:pt x="6557" y="10544"/>
                      <a:pt x="6557" y="10225"/>
                    </a:cubicBezTo>
                    <a:cubicBezTo>
                      <a:pt x="6557" y="9841"/>
                      <a:pt x="6386" y="9778"/>
                      <a:pt x="6343" y="9586"/>
                    </a:cubicBezTo>
                    <a:cubicBezTo>
                      <a:pt x="6129" y="8563"/>
                      <a:pt x="5486" y="7733"/>
                      <a:pt x="5057" y="7093"/>
                    </a:cubicBezTo>
                    <a:cubicBezTo>
                      <a:pt x="4886" y="6838"/>
                      <a:pt x="4586" y="6710"/>
                      <a:pt x="4371" y="6454"/>
                    </a:cubicBezTo>
                    <a:cubicBezTo>
                      <a:pt x="4243" y="6199"/>
                      <a:pt x="4371" y="5943"/>
                      <a:pt x="4286" y="5624"/>
                    </a:cubicBezTo>
                    <a:cubicBezTo>
                      <a:pt x="4114" y="5112"/>
                      <a:pt x="3514" y="5049"/>
                      <a:pt x="3514" y="4346"/>
                    </a:cubicBezTo>
                    <a:cubicBezTo>
                      <a:pt x="3343" y="4346"/>
                      <a:pt x="3386" y="4282"/>
                      <a:pt x="3300" y="4346"/>
                    </a:cubicBezTo>
                    <a:cubicBezTo>
                      <a:pt x="3086" y="4026"/>
                      <a:pt x="2871" y="3707"/>
                      <a:pt x="2657" y="3387"/>
                    </a:cubicBezTo>
                    <a:cubicBezTo>
                      <a:pt x="2486" y="3131"/>
                      <a:pt x="2571" y="2684"/>
                      <a:pt x="2400" y="2428"/>
                    </a:cubicBezTo>
                    <a:cubicBezTo>
                      <a:pt x="2229" y="2173"/>
                      <a:pt x="2271" y="1534"/>
                      <a:pt x="2100" y="1406"/>
                    </a:cubicBezTo>
                    <a:cubicBezTo>
                      <a:pt x="1800" y="1214"/>
                      <a:pt x="1500" y="1214"/>
                      <a:pt x="1243" y="831"/>
                    </a:cubicBezTo>
                    <a:cubicBezTo>
                      <a:pt x="1157" y="959"/>
                      <a:pt x="1200" y="1150"/>
                      <a:pt x="1200" y="1214"/>
                    </a:cubicBezTo>
                    <a:cubicBezTo>
                      <a:pt x="1200" y="1789"/>
                      <a:pt x="1371" y="2173"/>
                      <a:pt x="1543" y="2620"/>
                    </a:cubicBezTo>
                    <a:cubicBezTo>
                      <a:pt x="1671" y="3067"/>
                      <a:pt x="1929" y="3067"/>
                      <a:pt x="2100" y="3387"/>
                    </a:cubicBezTo>
                    <a:cubicBezTo>
                      <a:pt x="2357" y="3770"/>
                      <a:pt x="2400" y="4026"/>
                      <a:pt x="2486" y="4537"/>
                    </a:cubicBezTo>
                    <a:cubicBezTo>
                      <a:pt x="2614" y="5176"/>
                      <a:pt x="3000" y="5496"/>
                      <a:pt x="3129" y="6071"/>
                    </a:cubicBezTo>
                    <a:cubicBezTo>
                      <a:pt x="3300" y="6774"/>
                      <a:pt x="3429" y="7477"/>
                      <a:pt x="3729" y="7796"/>
                    </a:cubicBezTo>
                    <a:cubicBezTo>
                      <a:pt x="3900" y="7605"/>
                      <a:pt x="4114" y="8052"/>
                      <a:pt x="4114" y="8308"/>
                    </a:cubicBezTo>
                    <a:cubicBezTo>
                      <a:pt x="4114" y="8436"/>
                      <a:pt x="4071" y="8691"/>
                      <a:pt x="3986" y="8691"/>
                    </a:cubicBezTo>
                    <a:cubicBezTo>
                      <a:pt x="3943" y="8691"/>
                      <a:pt x="3686" y="8244"/>
                      <a:pt x="3686" y="8116"/>
                    </a:cubicBezTo>
                    <a:cubicBezTo>
                      <a:pt x="3343" y="8116"/>
                      <a:pt x="3171" y="7477"/>
                      <a:pt x="2957" y="7221"/>
                    </a:cubicBezTo>
                    <a:cubicBezTo>
                      <a:pt x="2829" y="7157"/>
                      <a:pt x="2829" y="7157"/>
                      <a:pt x="2786" y="6966"/>
                    </a:cubicBezTo>
                    <a:cubicBezTo>
                      <a:pt x="2786" y="6263"/>
                      <a:pt x="2786" y="6263"/>
                      <a:pt x="2786" y="6263"/>
                    </a:cubicBezTo>
                    <a:cubicBezTo>
                      <a:pt x="2571" y="5943"/>
                      <a:pt x="2400" y="5624"/>
                      <a:pt x="2229" y="5368"/>
                    </a:cubicBezTo>
                    <a:cubicBezTo>
                      <a:pt x="1971" y="4985"/>
                      <a:pt x="1543" y="5049"/>
                      <a:pt x="1329" y="4601"/>
                    </a:cubicBezTo>
                    <a:cubicBezTo>
                      <a:pt x="1457" y="4601"/>
                      <a:pt x="1886" y="4729"/>
                      <a:pt x="1714" y="4409"/>
                    </a:cubicBezTo>
                    <a:cubicBezTo>
                      <a:pt x="1457" y="3770"/>
                      <a:pt x="1114" y="3195"/>
                      <a:pt x="814" y="2876"/>
                    </a:cubicBezTo>
                    <a:cubicBezTo>
                      <a:pt x="600" y="2620"/>
                      <a:pt x="600" y="1853"/>
                      <a:pt x="471" y="1534"/>
                    </a:cubicBezTo>
                    <a:cubicBezTo>
                      <a:pt x="300" y="1022"/>
                      <a:pt x="129" y="831"/>
                      <a:pt x="0" y="19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243" y="0"/>
                      <a:pt x="1243" y="0"/>
                      <a:pt x="1243" y="0"/>
                    </a:cubicBezTo>
                    <a:cubicBezTo>
                      <a:pt x="3257" y="1022"/>
                      <a:pt x="3257" y="1022"/>
                      <a:pt x="3257" y="1022"/>
                    </a:cubicBezTo>
                    <a:cubicBezTo>
                      <a:pt x="4843" y="1022"/>
                      <a:pt x="4843" y="1022"/>
                      <a:pt x="4843" y="1022"/>
                    </a:cubicBezTo>
                    <a:cubicBezTo>
                      <a:pt x="4843" y="639"/>
                      <a:pt x="4843" y="639"/>
                      <a:pt x="4843" y="639"/>
                    </a:cubicBezTo>
                    <a:cubicBezTo>
                      <a:pt x="5186" y="639"/>
                      <a:pt x="5186" y="639"/>
                      <a:pt x="5186" y="639"/>
                    </a:cubicBezTo>
                    <a:cubicBezTo>
                      <a:pt x="5829" y="895"/>
                      <a:pt x="6214" y="1022"/>
                      <a:pt x="6514" y="1853"/>
                    </a:cubicBezTo>
                    <a:cubicBezTo>
                      <a:pt x="6686" y="2237"/>
                      <a:pt x="6986" y="3195"/>
                      <a:pt x="7371" y="3195"/>
                    </a:cubicBezTo>
                    <a:cubicBezTo>
                      <a:pt x="7757" y="3195"/>
                      <a:pt x="7629" y="2428"/>
                      <a:pt x="8057" y="2428"/>
                    </a:cubicBezTo>
                    <a:cubicBezTo>
                      <a:pt x="9171" y="2428"/>
                      <a:pt x="9129" y="4473"/>
                      <a:pt x="9729" y="5368"/>
                    </a:cubicBezTo>
                    <a:cubicBezTo>
                      <a:pt x="9900" y="5560"/>
                      <a:pt x="10371" y="5751"/>
                      <a:pt x="10671" y="5751"/>
                    </a:cubicBezTo>
                    <a:cubicBezTo>
                      <a:pt x="10671" y="5688"/>
                      <a:pt x="10586" y="5560"/>
                      <a:pt x="10586" y="5496"/>
                    </a:cubicBezTo>
                    <a:cubicBezTo>
                      <a:pt x="10586" y="5496"/>
                      <a:pt x="10586" y="5496"/>
                      <a:pt x="10586" y="5496"/>
                    </a:cubicBezTo>
                    <a:lnTo>
                      <a:pt x="10629" y="5815"/>
                    </a:ln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/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93" name="íśľiḍe"/>
              <p:cNvSpPr/>
              <p:nvPr/>
            </p:nvSpPr>
            <p:spPr>
              <a:xfrm>
                <a:off x="2529341" y="1576041"/>
                <a:ext cx="36497" cy="1494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0100" extrusionOk="0">
                    <a:moveTo>
                      <a:pt x="0" y="0"/>
                    </a:moveTo>
                    <a:cubicBezTo>
                      <a:pt x="10080" y="0"/>
                      <a:pt x="21600" y="2700"/>
                      <a:pt x="21600" y="18900"/>
                    </a:cubicBezTo>
                    <a:cubicBezTo>
                      <a:pt x="21600" y="21600"/>
                      <a:pt x="18720" y="18900"/>
                      <a:pt x="17280" y="18900"/>
                    </a:cubicBezTo>
                    <a:cubicBezTo>
                      <a:pt x="11520" y="18900"/>
                      <a:pt x="2880" y="13500"/>
                      <a:pt x="0" y="8100"/>
                    </a:cubicBezTo>
                    <a:cubicBezTo>
                      <a:pt x="0" y="5400"/>
                      <a:pt x="0" y="2700"/>
                      <a:pt x="0" y="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94" name="iṧlïďè"/>
              <p:cNvSpPr/>
              <p:nvPr/>
            </p:nvSpPr>
            <p:spPr>
              <a:xfrm>
                <a:off x="1156591" y="1669695"/>
                <a:ext cx="140364" cy="8562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1137"/>
                    </a:moveTo>
                    <a:cubicBezTo>
                      <a:pt x="732" y="568"/>
                      <a:pt x="1464" y="0"/>
                      <a:pt x="2197" y="0"/>
                    </a:cubicBezTo>
                    <a:cubicBezTo>
                      <a:pt x="4027" y="0"/>
                      <a:pt x="5492" y="2842"/>
                      <a:pt x="6590" y="3411"/>
                    </a:cubicBezTo>
                    <a:cubicBezTo>
                      <a:pt x="13546" y="6821"/>
                      <a:pt x="17573" y="13074"/>
                      <a:pt x="21600" y="19326"/>
                    </a:cubicBezTo>
                    <a:cubicBezTo>
                      <a:pt x="21600" y="21600"/>
                      <a:pt x="21600" y="21600"/>
                      <a:pt x="21600" y="21600"/>
                    </a:cubicBezTo>
                    <a:cubicBezTo>
                      <a:pt x="21234" y="21600"/>
                      <a:pt x="20502" y="21600"/>
                      <a:pt x="20136" y="21600"/>
                    </a:cubicBezTo>
                    <a:cubicBezTo>
                      <a:pt x="16475" y="21600"/>
                      <a:pt x="10617" y="14779"/>
                      <a:pt x="8054" y="12505"/>
                    </a:cubicBezTo>
                    <a:cubicBezTo>
                      <a:pt x="8420" y="10800"/>
                      <a:pt x="9153" y="10800"/>
                      <a:pt x="9885" y="9663"/>
                    </a:cubicBezTo>
                    <a:cubicBezTo>
                      <a:pt x="6590" y="9663"/>
                      <a:pt x="2197" y="7389"/>
                      <a:pt x="1464" y="4547"/>
                    </a:cubicBezTo>
                    <a:cubicBezTo>
                      <a:pt x="2197" y="3979"/>
                      <a:pt x="2929" y="2842"/>
                      <a:pt x="2929" y="2274"/>
                    </a:cubicBezTo>
                    <a:cubicBezTo>
                      <a:pt x="2197" y="1705"/>
                      <a:pt x="732" y="1137"/>
                      <a:pt x="732" y="1137"/>
                    </a:cubicBezTo>
                    <a:lnTo>
                      <a:pt x="0" y="1137"/>
                    </a:ln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95" name="iS1iḍè"/>
              <p:cNvSpPr/>
              <p:nvPr/>
            </p:nvSpPr>
            <p:spPr>
              <a:xfrm>
                <a:off x="1019035" y="1543931"/>
                <a:ext cx="43601" cy="6689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8638" h="21600" extrusionOk="0">
                    <a:moveTo>
                      <a:pt x="5143" y="8640"/>
                    </a:moveTo>
                    <a:cubicBezTo>
                      <a:pt x="3086" y="8640"/>
                      <a:pt x="2057" y="4320"/>
                      <a:pt x="0" y="288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114" y="0"/>
                      <a:pt x="6171" y="2160"/>
                      <a:pt x="10286" y="2160"/>
                    </a:cubicBezTo>
                    <a:cubicBezTo>
                      <a:pt x="10286" y="2880"/>
                      <a:pt x="5143" y="5760"/>
                      <a:pt x="7200" y="5760"/>
                    </a:cubicBezTo>
                    <a:cubicBezTo>
                      <a:pt x="10286" y="5760"/>
                      <a:pt x="12343" y="3600"/>
                      <a:pt x="13371" y="2160"/>
                    </a:cubicBezTo>
                    <a:cubicBezTo>
                      <a:pt x="14400" y="3600"/>
                      <a:pt x="13371" y="5760"/>
                      <a:pt x="13371" y="8640"/>
                    </a:cubicBezTo>
                    <a:cubicBezTo>
                      <a:pt x="13371" y="10800"/>
                      <a:pt x="15429" y="10800"/>
                      <a:pt x="15429" y="12960"/>
                    </a:cubicBezTo>
                    <a:cubicBezTo>
                      <a:pt x="15429" y="13680"/>
                      <a:pt x="13371" y="14400"/>
                      <a:pt x="13371" y="15840"/>
                    </a:cubicBezTo>
                    <a:cubicBezTo>
                      <a:pt x="13371" y="17280"/>
                      <a:pt x="21600" y="21600"/>
                      <a:pt x="17486" y="21600"/>
                    </a:cubicBezTo>
                    <a:cubicBezTo>
                      <a:pt x="13371" y="21600"/>
                      <a:pt x="10286" y="18720"/>
                      <a:pt x="10286" y="15840"/>
                    </a:cubicBezTo>
                    <a:cubicBezTo>
                      <a:pt x="10286" y="13680"/>
                      <a:pt x="12343" y="12960"/>
                      <a:pt x="12343" y="12240"/>
                    </a:cubicBezTo>
                    <a:cubicBezTo>
                      <a:pt x="9257" y="11520"/>
                      <a:pt x="8229" y="8640"/>
                      <a:pt x="5143" y="864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96" name="îṥ1ïďe"/>
              <p:cNvSpPr/>
              <p:nvPr/>
            </p:nvSpPr>
            <p:spPr>
              <a:xfrm>
                <a:off x="384593" y="1394087"/>
                <a:ext cx="61761" cy="4013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6800" y="0"/>
                    </a:moveTo>
                    <a:cubicBezTo>
                      <a:pt x="20000" y="0"/>
                      <a:pt x="20000" y="0"/>
                      <a:pt x="21600" y="0"/>
                    </a:cubicBezTo>
                    <a:cubicBezTo>
                      <a:pt x="21600" y="7200"/>
                      <a:pt x="21600" y="7200"/>
                      <a:pt x="21600" y="7200"/>
                    </a:cubicBezTo>
                    <a:cubicBezTo>
                      <a:pt x="15200" y="12000"/>
                      <a:pt x="12800" y="15600"/>
                      <a:pt x="8000" y="21600"/>
                    </a:cubicBezTo>
                    <a:cubicBezTo>
                      <a:pt x="4800" y="18000"/>
                      <a:pt x="2400" y="18000"/>
                      <a:pt x="0" y="14400"/>
                    </a:cubicBezTo>
                    <a:cubicBezTo>
                      <a:pt x="0" y="8400"/>
                      <a:pt x="0" y="8400"/>
                      <a:pt x="0" y="8400"/>
                    </a:cubicBezTo>
                    <a:cubicBezTo>
                      <a:pt x="6400" y="6000"/>
                      <a:pt x="11200" y="0"/>
                      <a:pt x="16800" y="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97" name="î$1ïḍé"/>
              <p:cNvSpPr/>
              <p:nvPr/>
            </p:nvSpPr>
            <p:spPr>
              <a:xfrm>
                <a:off x="3051492" y="1696393"/>
                <a:ext cx="75798" cy="3217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18549" extrusionOk="0">
                    <a:moveTo>
                      <a:pt x="17550" y="18549"/>
                    </a:moveTo>
                    <a:cubicBezTo>
                      <a:pt x="19575" y="18549"/>
                      <a:pt x="20250" y="17278"/>
                      <a:pt x="21600" y="14737"/>
                    </a:cubicBezTo>
                    <a:cubicBezTo>
                      <a:pt x="14850" y="8384"/>
                      <a:pt x="9450" y="-3051"/>
                      <a:pt x="0" y="761"/>
                    </a:cubicBezTo>
                    <a:cubicBezTo>
                      <a:pt x="4050" y="5843"/>
                      <a:pt x="12150" y="18549"/>
                      <a:pt x="17550" y="18549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98" name="íŝļïďè"/>
              <p:cNvSpPr/>
              <p:nvPr/>
            </p:nvSpPr>
            <p:spPr>
              <a:xfrm>
                <a:off x="3057106" y="1803485"/>
                <a:ext cx="56147" cy="3478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900" y="0"/>
                    </a:moveTo>
                    <a:cubicBezTo>
                      <a:pt x="3600" y="5760"/>
                      <a:pt x="6300" y="8640"/>
                      <a:pt x="9900" y="10080"/>
                    </a:cubicBezTo>
                    <a:cubicBezTo>
                      <a:pt x="21600" y="10080"/>
                      <a:pt x="21600" y="10080"/>
                      <a:pt x="21600" y="10080"/>
                    </a:cubicBezTo>
                    <a:cubicBezTo>
                      <a:pt x="21600" y="11520"/>
                      <a:pt x="21600" y="12960"/>
                      <a:pt x="21600" y="14400"/>
                    </a:cubicBezTo>
                    <a:cubicBezTo>
                      <a:pt x="21600" y="17280"/>
                      <a:pt x="18000" y="21600"/>
                      <a:pt x="17100" y="21600"/>
                    </a:cubicBezTo>
                    <a:cubicBezTo>
                      <a:pt x="14400" y="21600"/>
                      <a:pt x="0" y="8640"/>
                      <a:pt x="0" y="4320"/>
                    </a:cubicBezTo>
                    <a:cubicBezTo>
                      <a:pt x="0" y="2880"/>
                      <a:pt x="0" y="0"/>
                      <a:pt x="900" y="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99" name="ïṣļïḍê"/>
              <p:cNvSpPr/>
              <p:nvPr/>
            </p:nvSpPr>
            <p:spPr>
              <a:xfrm>
                <a:off x="3141324" y="1803485"/>
                <a:ext cx="39303" cy="4549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12960"/>
                    </a:moveTo>
                    <a:cubicBezTo>
                      <a:pt x="21600" y="12960"/>
                      <a:pt x="21600" y="15120"/>
                      <a:pt x="21600" y="16200"/>
                    </a:cubicBezTo>
                    <a:cubicBezTo>
                      <a:pt x="21600" y="19440"/>
                      <a:pt x="15247" y="21600"/>
                      <a:pt x="8894" y="21600"/>
                    </a:cubicBezTo>
                    <a:cubicBezTo>
                      <a:pt x="3812" y="21600"/>
                      <a:pt x="0" y="19440"/>
                      <a:pt x="0" y="16200"/>
                    </a:cubicBezTo>
                    <a:cubicBezTo>
                      <a:pt x="0" y="14040"/>
                      <a:pt x="7624" y="2160"/>
                      <a:pt x="12706" y="0"/>
                    </a:cubicBezTo>
                    <a:cubicBezTo>
                      <a:pt x="13976" y="2160"/>
                      <a:pt x="17788" y="3240"/>
                      <a:pt x="17788" y="5400"/>
                    </a:cubicBezTo>
                    <a:cubicBezTo>
                      <a:pt x="17788" y="9720"/>
                      <a:pt x="8894" y="12960"/>
                      <a:pt x="21600" y="1296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300" name="îşľíḋe"/>
              <p:cNvSpPr/>
              <p:nvPr/>
            </p:nvSpPr>
            <p:spPr>
              <a:xfrm>
                <a:off x="14035" y="1289169"/>
                <a:ext cx="47725" cy="1929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19467" extrusionOk="0">
                    <a:moveTo>
                      <a:pt x="6480" y="7467"/>
                    </a:moveTo>
                    <a:cubicBezTo>
                      <a:pt x="8640" y="-2133"/>
                      <a:pt x="10800" y="267"/>
                      <a:pt x="14040" y="267"/>
                    </a:cubicBezTo>
                    <a:cubicBezTo>
                      <a:pt x="19440" y="267"/>
                      <a:pt x="20520" y="7467"/>
                      <a:pt x="21600" y="19467"/>
                    </a:cubicBezTo>
                    <a:cubicBezTo>
                      <a:pt x="5400" y="19467"/>
                      <a:pt x="5400" y="19467"/>
                      <a:pt x="5400" y="19467"/>
                    </a:cubicBezTo>
                    <a:cubicBezTo>
                      <a:pt x="3240" y="14667"/>
                      <a:pt x="1080" y="12267"/>
                      <a:pt x="0" y="7467"/>
                    </a:cubicBezTo>
                    <a:lnTo>
                      <a:pt x="6480" y="7467"/>
                    </a:ln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</p:grpSp>
        <p:grpSp>
          <p:nvGrpSpPr>
            <p:cNvPr id="73" name="îsļídé"/>
            <p:cNvGrpSpPr/>
            <p:nvPr/>
          </p:nvGrpSpPr>
          <p:grpSpPr>
            <a:xfrm>
              <a:off x="4657261" y="216734"/>
              <a:ext cx="1215548" cy="1947993"/>
              <a:chOff x="0" y="0"/>
              <a:chExt cx="1215547" cy="1947991"/>
            </a:xfrm>
            <a:grpFill/>
          </p:grpSpPr>
          <p:sp>
            <p:nvSpPr>
              <p:cNvPr id="223" name="íṧḷiďê"/>
              <p:cNvSpPr/>
              <p:nvPr/>
            </p:nvSpPr>
            <p:spPr>
              <a:xfrm>
                <a:off x="617598" y="1225521"/>
                <a:ext cx="47725" cy="6689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3240" y="19440"/>
                    </a:moveTo>
                    <a:cubicBezTo>
                      <a:pt x="6480" y="18720"/>
                      <a:pt x="9720" y="16560"/>
                      <a:pt x="9720" y="15120"/>
                    </a:cubicBezTo>
                    <a:cubicBezTo>
                      <a:pt x="5400" y="14400"/>
                      <a:pt x="0" y="11520"/>
                      <a:pt x="0" y="10080"/>
                    </a:cubicBezTo>
                    <a:cubicBezTo>
                      <a:pt x="0" y="8640"/>
                      <a:pt x="5400" y="0"/>
                      <a:pt x="9720" y="0"/>
                    </a:cubicBezTo>
                    <a:cubicBezTo>
                      <a:pt x="18360" y="0"/>
                      <a:pt x="19440" y="2880"/>
                      <a:pt x="21600" y="8640"/>
                    </a:cubicBezTo>
                    <a:cubicBezTo>
                      <a:pt x="12960" y="10080"/>
                      <a:pt x="17280" y="21600"/>
                      <a:pt x="6480" y="21600"/>
                    </a:cubicBezTo>
                    <a:cubicBezTo>
                      <a:pt x="3240" y="21600"/>
                      <a:pt x="1080" y="19440"/>
                      <a:pt x="0" y="19440"/>
                    </a:cubicBezTo>
                    <a:cubicBezTo>
                      <a:pt x="1080" y="18720"/>
                      <a:pt x="2160" y="18000"/>
                      <a:pt x="2160" y="18000"/>
                    </a:cubicBezTo>
                    <a:lnTo>
                      <a:pt x="3240" y="19440"/>
                    </a:ln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grpSp>
            <p:nvGrpSpPr>
              <p:cNvPr id="224" name="iSļiďè"/>
              <p:cNvGrpSpPr/>
              <p:nvPr/>
            </p:nvGrpSpPr>
            <p:grpSpPr>
              <a:xfrm>
                <a:off x="0" y="-1"/>
                <a:ext cx="1215548" cy="1947993"/>
                <a:chOff x="0" y="0"/>
                <a:chExt cx="1215547" cy="1947991"/>
              </a:xfrm>
              <a:grpFill/>
            </p:grpSpPr>
            <p:sp>
              <p:nvSpPr>
                <p:cNvPr id="225" name="iṥľíḍe"/>
                <p:cNvSpPr/>
                <p:nvPr/>
              </p:nvSpPr>
              <p:spPr>
                <a:xfrm>
                  <a:off x="19651" y="1169330"/>
                  <a:ext cx="1142559" cy="77866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199" y="13446"/>
                      </a:moveTo>
                      <a:cubicBezTo>
                        <a:pt x="21110" y="13881"/>
                        <a:pt x="21155" y="13632"/>
                        <a:pt x="21066" y="13819"/>
                      </a:cubicBezTo>
                      <a:cubicBezTo>
                        <a:pt x="21066" y="14504"/>
                        <a:pt x="21066" y="14504"/>
                        <a:pt x="21066" y="14504"/>
                      </a:cubicBezTo>
                      <a:cubicBezTo>
                        <a:pt x="20887" y="14815"/>
                        <a:pt x="20531" y="15313"/>
                        <a:pt x="20531" y="15749"/>
                      </a:cubicBezTo>
                      <a:cubicBezTo>
                        <a:pt x="20531" y="16247"/>
                        <a:pt x="21066" y="16682"/>
                        <a:pt x="21199" y="16931"/>
                      </a:cubicBezTo>
                      <a:cubicBezTo>
                        <a:pt x="21110" y="16994"/>
                        <a:pt x="21021" y="16994"/>
                        <a:pt x="20932" y="16994"/>
                      </a:cubicBezTo>
                      <a:cubicBezTo>
                        <a:pt x="20754" y="17118"/>
                        <a:pt x="20620" y="16994"/>
                        <a:pt x="20442" y="17118"/>
                      </a:cubicBezTo>
                      <a:cubicBezTo>
                        <a:pt x="20175" y="17243"/>
                        <a:pt x="20130" y="17616"/>
                        <a:pt x="19863" y="17616"/>
                      </a:cubicBezTo>
                      <a:cubicBezTo>
                        <a:pt x="19551" y="17616"/>
                        <a:pt x="19373" y="17056"/>
                        <a:pt x="19017" y="17056"/>
                      </a:cubicBezTo>
                      <a:cubicBezTo>
                        <a:pt x="18705" y="17056"/>
                        <a:pt x="18661" y="17305"/>
                        <a:pt x="18393" y="17429"/>
                      </a:cubicBezTo>
                      <a:cubicBezTo>
                        <a:pt x="18438" y="17678"/>
                        <a:pt x="18438" y="17803"/>
                        <a:pt x="18393" y="18052"/>
                      </a:cubicBezTo>
                      <a:cubicBezTo>
                        <a:pt x="18082" y="18052"/>
                        <a:pt x="18037" y="17616"/>
                        <a:pt x="17859" y="17616"/>
                      </a:cubicBezTo>
                      <a:cubicBezTo>
                        <a:pt x="17770" y="17616"/>
                        <a:pt x="17681" y="17803"/>
                        <a:pt x="17681" y="17927"/>
                      </a:cubicBezTo>
                      <a:cubicBezTo>
                        <a:pt x="18037" y="18550"/>
                        <a:pt x="18037" y="18550"/>
                        <a:pt x="18037" y="18550"/>
                      </a:cubicBezTo>
                      <a:cubicBezTo>
                        <a:pt x="18037" y="18674"/>
                        <a:pt x="17948" y="18799"/>
                        <a:pt x="17948" y="18861"/>
                      </a:cubicBezTo>
                      <a:cubicBezTo>
                        <a:pt x="17948" y="18923"/>
                        <a:pt x="18482" y="19608"/>
                        <a:pt x="18661" y="19608"/>
                      </a:cubicBezTo>
                      <a:cubicBezTo>
                        <a:pt x="18661" y="19733"/>
                        <a:pt x="18705" y="19795"/>
                        <a:pt x="18705" y="19857"/>
                      </a:cubicBezTo>
                      <a:cubicBezTo>
                        <a:pt x="18616" y="19982"/>
                        <a:pt x="18438" y="19857"/>
                        <a:pt x="18393" y="20044"/>
                      </a:cubicBezTo>
                      <a:cubicBezTo>
                        <a:pt x="18349" y="20044"/>
                        <a:pt x="18349" y="20044"/>
                        <a:pt x="18349" y="20044"/>
                      </a:cubicBezTo>
                      <a:cubicBezTo>
                        <a:pt x="18126" y="19982"/>
                        <a:pt x="17948" y="19733"/>
                        <a:pt x="17859" y="19608"/>
                      </a:cubicBezTo>
                      <a:cubicBezTo>
                        <a:pt x="17859" y="19857"/>
                        <a:pt x="17859" y="19857"/>
                        <a:pt x="17859" y="19857"/>
                      </a:cubicBezTo>
                      <a:cubicBezTo>
                        <a:pt x="17904" y="19982"/>
                        <a:pt x="17948" y="20106"/>
                        <a:pt x="17948" y="20293"/>
                      </a:cubicBezTo>
                      <a:cubicBezTo>
                        <a:pt x="17948" y="20480"/>
                        <a:pt x="17770" y="20791"/>
                        <a:pt x="17948" y="20915"/>
                      </a:cubicBezTo>
                      <a:cubicBezTo>
                        <a:pt x="17859" y="20915"/>
                        <a:pt x="17681" y="20915"/>
                        <a:pt x="17681" y="20915"/>
                      </a:cubicBezTo>
                      <a:cubicBezTo>
                        <a:pt x="17369" y="20915"/>
                        <a:pt x="17102" y="20480"/>
                        <a:pt x="17102" y="20044"/>
                      </a:cubicBezTo>
                      <a:cubicBezTo>
                        <a:pt x="17102" y="19857"/>
                        <a:pt x="17280" y="19733"/>
                        <a:pt x="17369" y="19608"/>
                      </a:cubicBezTo>
                      <a:cubicBezTo>
                        <a:pt x="17235" y="19608"/>
                        <a:pt x="17146" y="19608"/>
                        <a:pt x="17013" y="19608"/>
                      </a:cubicBezTo>
                      <a:cubicBezTo>
                        <a:pt x="16924" y="19608"/>
                        <a:pt x="16879" y="19359"/>
                        <a:pt x="16879" y="19297"/>
                      </a:cubicBezTo>
                      <a:cubicBezTo>
                        <a:pt x="16835" y="18923"/>
                        <a:pt x="16656" y="18674"/>
                        <a:pt x="16478" y="18425"/>
                      </a:cubicBezTo>
                      <a:cubicBezTo>
                        <a:pt x="16256" y="18114"/>
                        <a:pt x="15944" y="17865"/>
                        <a:pt x="15944" y="17305"/>
                      </a:cubicBezTo>
                      <a:cubicBezTo>
                        <a:pt x="15944" y="16931"/>
                        <a:pt x="15944" y="16807"/>
                        <a:pt x="15944" y="16558"/>
                      </a:cubicBezTo>
                      <a:cubicBezTo>
                        <a:pt x="15944" y="16184"/>
                        <a:pt x="15499" y="15624"/>
                        <a:pt x="15231" y="15437"/>
                      </a:cubicBezTo>
                      <a:cubicBezTo>
                        <a:pt x="14964" y="15251"/>
                        <a:pt x="14652" y="15188"/>
                        <a:pt x="14652" y="14815"/>
                      </a:cubicBezTo>
                      <a:cubicBezTo>
                        <a:pt x="14519" y="14815"/>
                        <a:pt x="14474" y="14815"/>
                        <a:pt x="14385" y="14815"/>
                      </a:cubicBezTo>
                      <a:cubicBezTo>
                        <a:pt x="13940" y="14815"/>
                        <a:pt x="13450" y="13881"/>
                        <a:pt x="13450" y="13259"/>
                      </a:cubicBezTo>
                      <a:cubicBezTo>
                        <a:pt x="13227" y="13259"/>
                        <a:pt x="13049" y="13259"/>
                        <a:pt x="12871" y="13259"/>
                      </a:cubicBezTo>
                      <a:cubicBezTo>
                        <a:pt x="12604" y="13259"/>
                        <a:pt x="12693" y="12699"/>
                        <a:pt x="12604" y="12512"/>
                      </a:cubicBezTo>
                      <a:cubicBezTo>
                        <a:pt x="12381" y="12699"/>
                        <a:pt x="11936" y="12699"/>
                        <a:pt x="11936" y="13010"/>
                      </a:cubicBezTo>
                      <a:cubicBezTo>
                        <a:pt x="11936" y="13072"/>
                        <a:pt x="12025" y="13197"/>
                        <a:pt x="12025" y="13197"/>
                      </a:cubicBezTo>
                      <a:cubicBezTo>
                        <a:pt x="12025" y="13321"/>
                        <a:pt x="11980" y="13508"/>
                        <a:pt x="11980" y="13695"/>
                      </a:cubicBezTo>
                      <a:cubicBezTo>
                        <a:pt x="11980" y="14068"/>
                        <a:pt x="12158" y="14255"/>
                        <a:pt x="12381" y="14379"/>
                      </a:cubicBezTo>
                      <a:cubicBezTo>
                        <a:pt x="12693" y="14504"/>
                        <a:pt x="12826" y="14939"/>
                        <a:pt x="12871" y="15188"/>
                      </a:cubicBezTo>
                      <a:cubicBezTo>
                        <a:pt x="12960" y="15562"/>
                        <a:pt x="13094" y="15998"/>
                        <a:pt x="13272" y="16122"/>
                      </a:cubicBezTo>
                      <a:cubicBezTo>
                        <a:pt x="13539" y="16309"/>
                        <a:pt x="13762" y="16184"/>
                        <a:pt x="14029" y="16184"/>
                      </a:cubicBezTo>
                      <a:cubicBezTo>
                        <a:pt x="14029" y="16247"/>
                        <a:pt x="14029" y="16371"/>
                        <a:pt x="14029" y="16433"/>
                      </a:cubicBezTo>
                      <a:cubicBezTo>
                        <a:pt x="13940" y="16745"/>
                        <a:pt x="14385" y="16869"/>
                        <a:pt x="14519" y="16931"/>
                      </a:cubicBezTo>
                      <a:cubicBezTo>
                        <a:pt x="14920" y="17243"/>
                        <a:pt x="15365" y="17429"/>
                        <a:pt x="15320" y="18052"/>
                      </a:cubicBezTo>
                      <a:cubicBezTo>
                        <a:pt x="15142" y="17990"/>
                        <a:pt x="15009" y="17616"/>
                        <a:pt x="14697" y="17616"/>
                      </a:cubicBezTo>
                      <a:cubicBezTo>
                        <a:pt x="14474" y="17616"/>
                        <a:pt x="14252" y="17803"/>
                        <a:pt x="14252" y="18052"/>
                      </a:cubicBezTo>
                      <a:cubicBezTo>
                        <a:pt x="14252" y="18425"/>
                        <a:pt x="14608" y="18488"/>
                        <a:pt x="14608" y="18861"/>
                      </a:cubicBezTo>
                      <a:cubicBezTo>
                        <a:pt x="14608" y="18986"/>
                        <a:pt x="14385" y="18986"/>
                        <a:pt x="14385" y="18986"/>
                      </a:cubicBezTo>
                      <a:cubicBezTo>
                        <a:pt x="14207" y="19235"/>
                        <a:pt x="14207" y="19795"/>
                        <a:pt x="13940" y="19795"/>
                      </a:cubicBezTo>
                      <a:cubicBezTo>
                        <a:pt x="13806" y="19795"/>
                        <a:pt x="13717" y="19733"/>
                        <a:pt x="13717" y="19608"/>
                      </a:cubicBezTo>
                      <a:cubicBezTo>
                        <a:pt x="13984" y="19608"/>
                        <a:pt x="14073" y="19235"/>
                        <a:pt x="14073" y="18861"/>
                      </a:cubicBezTo>
                      <a:cubicBezTo>
                        <a:pt x="14073" y="18488"/>
                        <a:pt x="13895" y="18363"/>
                        <a:pt x="13851" y="18114"/>
                      </a:cubicBezTo>
                      <a:cubicBezTo>
                        <a:pt x="13806" y="18114"/>
                        <a:pt x="13361" y="17492"/>
                        <a:pt x="13316" y="17305"/>
                      </a:cubicBezTo>
                      <a:cubicBezTo>
                        <a:pt x="13227" y="17305"/>
                        <a:pt x="12960" y="17180"/>
                        <a:pt x="12960" y="16994"/>
                      </a:cubicBezTo>
                      <a:cubicBezTo>
                        <a:pt x="12336" y="16807"/>
                        <a:pt x="12203" y="16558"/>
                        <a:pt x="11847" y="16122"/>
                      </a:cubicBezTo>
                      <a:cubicBezTo>
                        <a:pt x="11713" y="15935"/>
                        <a:pt x="11446" y="15811"/>
                        <a:pt x="11401" y="15624"/>
                      </a:cubicBezTo>
                      <a:cubicBezTo>
                        <a:pt x="11045" y="15002"/>
                        <a:pt x="10911" y="13881"/>
                        <a:pt x="10199" y="13881"/>
                      </a:cubicBezTo>
                      <a:cubicBezTo>
                        <a:pt x="9842" y="13881"/>
                        <a:pt x="9798" y="14193"/>
                        <a:pt x="9620" y="14317"/>
                      </a:cubicBezTo>
                      <a:cubicBezTo>
                        <a:pt x="9264" y="14566"/>
                        <a:pt x="8996" y="15064"/>
                        <a:pt x="8551" y="15064"/>
                      </a:cubicBezTo>
                      <a:cubicBezTo>
                        <a:pt x="8150" y="15064"/>
                        <a:pt x="7883" y="14753"/>
                        <a:pt x="7482" y="14753"/>
                      </a:cubicBezTo>
                      <a:cubicBezTo>
                        <a:pt x="7170" y="14753"/>
                        <a:pt x="6859" y="15064"/>
                        <a:pt x="6859" y="15437"/>
                      </a:cubicBezTo>
                      <a:cubicBezTo>
                        <a:pt x="6992" y="16060"/>
                        <a:pt x="6992" y="16060"/>
                        <a:pt x="6992" y="16060"/>
                      </a:cubicBezTo>
                      <a:cubicBezTo>
                        <a:pt x="6859" y="16620"/>
                        <a:pt x="6413" y="16807"/>
                        <a:pt x="6012" y="16931"/>
                      </a:cubicBezTo>
                      <a:cubicBezTo>
                        <a:pt x="5656" y="17056"/>
                        <a:pt x="5077" y="18176"/>
                        <a:pt x="5077" y="18799"/>
                      </a:cubicBezTo>
                      <a:cubicBezTo>
                        <a:pt x="5077" y="18986"/>
                        <a:pt x="5211" y="19048"/>
                        <a:pt x="5300" y="19110"/>
                      </a:cubicBezTo>
                      <a:cubicBezTo>
                        <a:pt x="5033" y="19670"/>
                        <a:pt x="4899" y="19982"/>
                        <a:pt x="4498" y="20293"/>
                      </a:cubicBezTo>
                      <a:cubicBezTo>
                        <a:pt x="4275" y="20417"/>
                        <a:pt x="4231" y="21164"/>
                        <a:pt x="3830" y="20978"/>
                      </a:cubicBezTo>
                      <a:cubicBezTo>
                        <a:pt x="3830" y="20978"/>
                        <a:pt x="3830" y="20978"/>
                        <a:pt x="3830" y="20978"/>
                      </a:cubicBezTo>
                      <a:cubicBezTo>
                        <a:pt x="3652" y="20915"/>
                        <a:pt x="3340" y="21040"/>
                        <a:pt x="3207" y="21040"/>
                      </a:cubicBezTo>
                      <a:cubicBezTo>
                        <a:pt x="2761" y="21040"/>
                        <a:pt x="2494" y="21600"/>
                        <a:pt x="2049" y="21600"/>
                      </a:cubicBezTo>
                      <a:cubicBezTo>
                        <a:pt x="1781" y="21600"/>
                        <a:pt x="1737" y="20604"/>
                        <a:pt x="1292" y="20604"/>
                      </a:cubicBezTo>
                      <a:cubicBezTo>
                        <a:pt x="980" y="20604"/>
                        <a:pt x="757" y="20791"/>
                        <a:pt x="445" y="20791"/>
                      </a:cubicBezTo>
                      <a:cubicBezTo>
                        <a:pt x="356" y="20791"/>
                        <a:pt x="312" y="20666"/>
                        <a:pt x="312" y="20542"/>
                      </a:cubicBezTo>
                      <a:cubicBezTo>
                        <a:pt x="312" y="19982"/>
                        <a:pt x="312" y="19795"/>
                        <a:pt x="312" y="19484"/>
                      </a:cubicBezTo>
                      <a:cubicBezTo>
                        <a:pt x="134" y="19484"/>
                        <a:pt x="0" y="19297"/>
                        <a:pt x="0" y="19048"/>
                      </a:cubicBezTo>
                      <a:cubicBezTo>
                        <a:pt x="0" y="18737"/>
                        <a:pt x="178" y="18612"/>
                        <a:pt x="178" y="18425"/>
                      </a:cubicBezTo>
                      <a:cubicBezTo>
                        <a:pt x="178" y="17741"/>
                        <a:pt x="356" y="17056"/>
                        <a:pt x="356" y="16309"/>
                      </a:cubicBezTo>
                      <a:cubicBezTo>
                        <a:pt x="356" y="15935"/>
                        <a:pt x="178" y="15562"/>
                        <a:pt x="178" y="15313"/>
                      </a:cubicBezTo>
                      <a:cubicBezTo>
                        <a:pt x="178" y="15126"/>
                        <a:pt x="846" y="14566"/>
                        <a:pt x="935" y="14566"/>
                      </a:cubicBezTo>
                      <a:cubicBezTo>
                        <a:pt x="1024" y="14566"/>
                        <a:pt x="1113" y="14690"/>
                        <a:pt x="1247" y="14628"/>
                      </a:cubicBezTo>
                      <a:cubicBezTo>
                        <a:pt x="2138" y="14628"/>
                        <a:pt x="2138" y="14628"/>
                        <a:pt x="2138" y="14628"/>
                      </a:cubicBezTo>
                      <a:cubicBezTo>
                        <a:pt x="2182" y="14753"/>
                        <a:pt x="2360" y="14815"/>
                        <a:pt x="2449" y="14815"/>
                      </a:cubicBezTo>
                      <a:cubicBezTo>
                        <a:pt x="3385" y="14815"/>
                        <a:pt x="3385" y="14815"/>
                        <a:pt x="3385" y="14815"/>
                      </a:cubicBezTo>
                      <a:cubicBezTo>
                        <a:pt x="3652" y="14753"/>
                        <a:pt x="3741" y="14939"/>
                        <a:pt x="3964" y="14939"/>
                      </a:cubicBezTo>
                      <a:cubicBezTo>
                        <a:pt x="4097" y="14939"/>
                        <a:pt x="4365" y="14815"/>
                        <a:pt x="4454" y="14815"/>
                      </a:cubicBezTo>
                      <a:cubicBezTo>
                        <a:pt x="4454" y="14255"/>
                        <a:pt x="4676" y="14068"/>
                        <a:pt x="4676" y="13570"/>
                      </a:cubicBezTo>
                      <a:cubicBezTo>
                        <a:pt x="4676" y="13446"/>
                        <a:pt x="4676" y="12948"/>
                        <a:pt x="4676" y="12823"/>
                      </a:cubicBezTo>
                      <a:cubicBezTo>
                        <a:pt x="4632" y="12823"/>
                        <a:pt x="4632" y="12823"/>
                        <a:pt x="4632" y="12823"/>
                      </a:cubicBezTo>
                      <a:cubicBezTo>
                        <a:pt x="4676" y="12761"/>
                        <a:pt x="4721" y="12512"/>
                        <a:pt x="4721" y="12450"/>
                      </a:cubicBezTo>
                      <a:cubicBezTo>
                        <a:pt x="4721" y="12201"/>
                        <a:pt x="4587" y="12263"/>
                        <a:pt x="4587" y="12014"/>
                      </a:cubicBezTo>
                      <a:cubicBezTo>
                        <a:pt x="4186" y="12014"/>
                        <a:pt x="4097" y="11516"/>
                        <a:pt x="4097" y="11080"/>
                      </a:cubicBezTo>
                      <a:cubicBezTo>
                        <a:pt x="3964" y="11080"/>
                        <a:pt x="3964" y="10893"/>
                        <a:pt x="3875" y="10893"/>
                      </a:cubicBezTo>
                      <a:cubicBezTo>
                        <a:pt x="3518" y="10769"/>
                        <a:pt x="2672" y="10520"/>
                        <a:pt x="2672" y="10146"/>
                      </a:cubicBezTo>
                      <a:cubicBezTo>
                        <a:pt x="2672" y="10146"/>
                        <a:pt x="2672" y="10022"/>
                        <a:pt x="2672" y="10022"/>
                      </a:cubicBezTo>
                      <a:cubicBezTo>
                        <a:pt x="2672" y="9773"/>
                        <a:pt x="3207" y="9586"/>
                        <a:pt x="3385" y="9524"/>
                      </a:cubicBezTo>
                      <a:cubicBezTo>
                        <a:pt x="3474" y="9711"/>
                        <a:pt x="3786" y="9773"/>
                        <a:pt x="3919" y="9773"/>
                      </a:cubicBezTo>
                      <a:cubicBezTo>
                        <a:pt x="4097" y="9773"/>
                        <a:pt x="4320" y="9711"/>
                        <a:pt x="4365" y="9648"/>
                      </a:cubicBezTo>
                      <a:cubicBezTo>
                        <a:pt x="4365" y="9462"/>
                        <a:pt x="4365" y="9462"/>
                        <a:pt x="4365" y="9462"/>
                      </a:cubicBezTo>
                      <a:cubicBezTo>
                        <a:pt x="4231" y="9399"/>
                        <a:pt x="4320" y="9026"/>
                        <a:pt x="4275" y="8901"/>
                      </a:cubicBezTo>
                      <a:cubicBezTo>
                        <a:pt x="4275" y="8715"/>
                        <a:pt x="4275" y="8715"/>
                        <a:pt x="4275" y="8715"/>
                      </a:cubicBezTo>
                      <a:cubicBezTo>
                        <a:pt x="4498" y="8715"/>
                        <a:pt x="4498" y="8715"/>
                        <a:pt x="4498" y="8715"/>
                      </a:cubicBezTo>
                      <a:cubicBezTo>
                        <a:pt x="4632" y="8901"/>
                        <a:pt x="4854" y="9026"/>
                        <a:pt x="5077" y="9026"/>
                      </a:cubicBezTo>
                      <a:cubicBezTo>
                        <a:pt x="5211" y="9026"/>
                        <a:pt x="5344" y="8839"/>
                        <a:pt x="5389" y="8652"/>
                      </a:cubicBezTo>
                      <a:cubicBezTo>
                        <a:pt x="6012" y="8652"/>
                        <a:pt x="6146" y="8030"/>
                        <a:pt x="6280" y="7407"/>
                      </a:cubicBezTo>
                      <a:cubicBezTo>
                        <a:pt x="6369" y="7407"/>
                        <a:pt x="6458" y="7345"/>
                        <a:pt x="6547" y="7345"/>
                      </a:cubicBezTo>
                      <a:cubicBezTo>
                        <a:pt x="6680" y="7283"/>
                        <a:pt x="7438" y="6847"/>
                        <a:pt x="7527" y="6723"/>
                      </a:cubicBezTo>
                      <a:cubicBezTo>
                        <a:pt x="7705" y="6474"/>
                        <a:pt x="7616" y="6163"/>
                        <a:pt x="7616" y="5851"/>
                      </a:cubicBezTo>
                      <a:cubicBezTo>
                        <a:pt x="7616" y="5727"/>
                        <a:pt x="7794" y="5540"/>
                        <a:pt x="7838" y="5540"/>
                      </a:cubicBezTo>
                      <a:cubicBezTo>
                        <a:pt x="8106" y="5167"/>
                        <a:pt x="8373" y="4731"/>
                        <a:pt x="8818" y="4731"/>
                      </a:cubicBezTo>
                      <a:cubicBezTo>
                        <a:pt x="9085" y="4731"/>
                        <a:pt x="8952" y="4793"/>
                        <a:pt x="9085" y="4731"/>
                      </a:cubicBezTo>
                      <a:cubicBezTo>
                        <a:pt x="9174" y="4793"/>
                        <a:pt x="9219" y="4606"/>
                        <a:pt x="9264" y="4544"/>
                      </a:cubicBezTo>
                      <a:cubicBezTo>
                        <a:pt x="9397" y="4357"/>
                        <a:pt x="9575" y="4482"/>
                        <a:pt x="9753" y="4482"/>
                      </a:cubicBezTo>
                      <a:cubicBezTo>
                        <a:pt x="9842" y="4482"/>
                        <a:pt x="10199" y="4233"/>
                        <a:pt x="10199" y="4046"/>
                      </a:cubicBezTo>
                      <a:cubicBezTo>
                        <a:pt x="10199" y="3922"/>
                        <a:pt x="10021" y="3361"/>
                        <a:pt x="10021" y="3361"/>
                      </a:cubicBezTo>
                      <a:cubicBezTo>
                        <a:pt x="9976" y="2614"/>
                        <a:pt x="9664" y="2365"/>
                        <a:pt x="9664" y="1743"/>
                      </a:cubicBezTo>
                      <a:cubicBezTo>
                        <a:pt x="9664" y="560"/>
                        <a:pt x="10421" y="498"/>
                        <a:pt x="10911" y="0"/>
                      </a:cubicBezTo>
                      <a:cubicBezTo>
                        <a:pt x="10911" y="311"/>
                        <a:pt x="10911" y="311"/>
                        <a:pt x="10911" y="311"/>
                      </a:cubicBezTo>
                      <a:cubicBezTo>
                        <a:pt x="10822" y="622"/>
                        <a:pt x="10778" y="747"/>
                        <a:pt x="10778" y="1058"/>
                      </a:cubicBezTo>
                      <a:cubicBezTo>
                        <a:pt x="10778" y="1307"/>
                        <a:pt x="11000" y="1369"/>
                        <a:pt x="11179" y="1369"/>
                      </a:cubicBezTo>
                      <a:cubicBezTo>
                        <a:pt x="11179" y="1432"/>
                        <a:pt x="11179" y="1494"/>
                        <a:pt x="11179" y="1556"/>
                      </a:cubicBezTo>
                      <a:cubicBezTo>
                        <a:pt x="11179" y="1681"/>
                        <a:pt x="11000" y="1743"/>
                        <a:pt x="10911" y="1805"/>
                      </a:cubicBezTo>
                      <a:cubicBezTo>
                        <a:pt x="10733" y="2116"/>
                        <a:pt x="10511" y="2365"/>
                        <a:pt x="10511" y="2863"/>
                      </a:cubicBezTo>
                      <a:cubicBezTo>
                        <a:pt x="10511" y="3112"/>
                        <a:pt x="10600" y="3299"/>
                        <a:pt x="10689" y="3361"/>
                      </a:cubicBezTo>
                      <a:cubicBezTo>
                        <a:pt x="10689" y="3486"/>
                        <a:pt x="10733" y="3548"/>
                        <a:pt x="10689" y="3673"/>
                      </a:cubicBezTo>
                      <a:cubicBezTo>
                        <a:pt x="10911" y="3673"/>
                        <a:pt x="11000" y="3735"/>
                        <a:pt x="11179" y="3735"/>
                      </a:cubicBezTo>
                      <a:cubicBezTo>
                        <a:pt x="11223" y="3922"/>
                        <a:pt x="11268" y="4108"/>
                        <a:pt x="11312" y="4108"/>
                      </a:cubicBezTo>
                      <a:cubicBezTo>
                        <a:pt x="11847" y="4108"/>
                        <a:pt x="12203" y="3486"/>
                        <a:pt x="12693" y="3548"/>
                      </a:cubicBezTo>
                      <a:cubicBezTo>
                        <a:pt x="12648" y="3673"/>
                        <a:pt x="12559" y="3735"/>
                        <a:pt x="12559" y="3859"/>
                      </a:cubicBezTo>
                      <a:cubicBezTo>
                        <a:pt x="12559" y="3922"/>
                        <a:pt x="12871" y="4233"/>
                        <a:pt x="12871" y="4233"/>
                      </a:cubicBezTo>
                      <a:cubicBezTo>
                        <a:pt x="13094" y="4233"/>
                        <a:pt x="13138" y="4046"/>
                        <a:pt x="13227" y="3984"/>
                      </a:cubicBezTo>
                      <a:cubicBezTo>
                        <a:pt x="13539" y="3735"/>
                        <a:pt x="13806" y="3859"/>
                        <a:pt x="14118" y="3673"/>
                      </a:cubicBezTo>
                      <a:cubicBezTo>
                        <a:pt x="14296" y="3548"/>
                        <a:pt x="14608" y="3112"/>
                        <a:pt x="14831" y="3112"/>
                      </a:cubicBezTo>
                      <a:cubicBezTo>
                        <a:pt x="15098" y="3112"/>
                        <a:pt x="15365" y="3175"/>
                        <a:pt x="15499" y="3237"/>
                      </a:cubicBezTo>
                      <a:cubicBezTo>
                        <a:pt x="15454" y="3361"/>
                        <a:pt x="15409" y="3486"/>
                        <a:pt x="15409" y="3548"/>
                      </a:cubicBezTo>
                      <a:cubicBezTo>
                        <a:pt x="15944" y="3548"/>
                        <a:pt x="16478" y="3424"/>
                        <a:pt x="16835" y="3424"/>
                      </a:cubicBezTo>
                      <a:cubicBezTo>
                        <a:pt x="17191" y="3424"/>
                        <a:pt x="17458" y="3361"/>
                        <a:pt x="17859" y="3361"/>
                      </a:cubicBezTo>
                      <a:cubicBezTo>
                        <a:pt x="18260" y="3361"/>
                        <a:pt x="18438" y="4357"/>
                        <a:pt x="18438" y="4980"/>
                      </a:cubicBezTo>
                      <a:cubicBezTo>
                        <a:pt x="18438" y="5353"/>
                        <a:pt x="18171" y="5540"/>
                        <a:pt x="18171" y="5914"/>
                      </a:cubicBezTo>
                      <a:cubicBezTo>
                        <a:pt x="18171" y="6474"/>
                        <a:pt x="18527" y="6847"/>
                        <a:pt x="18527" y="7345"/>
                      </a:cubicBezTo>
                      <a:cubicBezTo>
                        <a:pt x="18527" y="7656"/>
                        <a:pt x="18171" y="7781"/>
                        <a:pt x="18082" y="7968"/>
                      </a:cubicBezTo>
                      <a:cubicBezTo>
                        <a:pt x="17859" y="8466"/>
                        <a:pt x="17770" y="8901"/>
                        <a:pt x="17770" y="9524"/>
                      </a:cubicBezTo>
                      <a:cubicBezTo>
                        <a:pt x="17770" y="10333"/>
                        <a:pt x="18171" y="10146"/>
                        <a:pt x="18616" y="10146"/>
                      </a:cubicBezTo>
                      <a:cubicBezTo>
                        <a:pt x="19240" y="10146"/>
                        <a:pt x="19551" y="9773"/>
                        <a:pt x="20041" y="9773"/>
                      </a:cubicBezTo>
                      <a:cubicBezTo>
                        <a:pt x="20531" y="9773"/>
                        <a:pt x="20442" y="11205"/>
                        <a:pt x="20932" y="11205"/>
                      </a:cubicBezTo>
                      <a:cubicBezTo>
                        <a:pt x="20932" y="12325"/>
                        <a:pt x="20932" y="12325"/>
                        <a:pt x="20932" y="12325"/>
                      </a:cubicBezTo>
                      <a:cubicBezTo>
                        <a:pt x="20932" y="12450"/>
                        <a:pt x="20976" y="12512"/>
                        <a:pt x="21021" y="12512"/>
                      </a:cubicBezTo>
                      <a:cubicBezTo>
                        <a:pt x="21110" y="12699"/>
                        <a:pt x="21110" y="12699"/>
                        <a:pt x="21110" y="12699"/>
                      </a:cubicBezTo>
                      <a:cubicBezTo>
                        <a:pt x="21199" y="12699"/>
                        <a:pt x="21466" y="12574"/>
                        <a:pt x="21600" y="12512"/>
                      </a:cubicBezTo>
                      <a:cubicBezTo>
                        <a:pt x="21600" y="12699"/>
                        <a:pt x="21600" y="12823"/>
                        <a:pt x="21600" y="12948"/>
                      </a:cubicBezTo>
                      <a:cubicBezTo>
                        <a:pt x="21422" y="13010"/>
                        <a:pt x="21199" y="13134"/>
                        <a:pt x="21199" y="13446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/>
                  <a:endParaRPr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endParaRPr>
                </a:p>
              </p:txBody>
            </p:sp>
            <p:sp>
              <p:nvSpPr>
                <p:cNvPr id="226" name="ïślïḑe"/>
                <p:cNvSpPr/>
                <p:nvPr/>
              </p:nvSpPr>
              <p:spPr>
                <a:xfrm>
                  <a:off x="443548" y="555710"/>
                  <a:ext cx="772000" cy="70995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464" extrusionOk="0">
                      <a:moveTo>
                        <a:pt x="5020" y="16641"/>
                      </a:moveTo>
                      <a:cubicBezTo>
                        <a:pt x="4624" y="16506"/>
                        <a:pt x="4558" y="16234"/>
                        <a:pt x="4360" y="15894"/>
                      </a:cubicBezTo>
                      <a:cubicBezTo>
                        <a:pt x="3765" y="16777"/>
                        <a:pt x="2840" y="17932"/>
                        <a:pt x="1585" y="17932"/>
                      </a:cubicBezTo>
                      <a:cubicBezTo>
                        <a:pt x="1453" y="17932"/>
                        <a:pt x="264" y="17253"/>
                        <a:pt x="264" y="17117"/>
                      </a:cubicBezTo>
                      <a:cubicBezTo>
                        <a:pt x="264" y="16845"/>
                        <a:pt x="661" y="16709"/>
                        <a:pt x="793" y="16641"/>
                      </a:cubicBezTo>
                      <a:cubicBezTo>
                        <a:pt x="793" y="16234"/>
                        <a:pt x="793" y="16234"/>
                        <a:pt x="793" y="16234"/>
                      </a:cubicBezTo>
                      <a:cubicBezTo>
                        <a:pt x="396" y="16234"/>
                        <a:pt x="396" y="16234"/>
                        <a:pt x="0" y="16370"/>
                      </a:cubicBezTo>
                      <a:cubicBezTo>
                        <a:pt x="0" y="16166"/>
                        <a:pt x="330" y="15758"/>
                        <a:pt x="528" y="15555"/>
                      </a:cubicBezTo>
                      <a:cubicBezTo>
                        <a:pt x="66" y="15011"/>
                        <a:pt x="0" y="14264"/>
                        <a:pt x="0" y="13449"/>
                      </a:cubicBezTo>
                      <a:cubicBezTo>
                        <a:pt x="0" y="12973"/>
                        <a:pt x="462" y="13041"/>
                        <a:pt x="661" y="12770"/>
                      </a:cubicBezTo>
                      <a:cubicBezTo>
                        <a:pt x="991" y="12226"/>
                        <a:pt x="1321" y="11887"/>
                        <a:pt x="1982" y="11683"/>
                      </a:cubicBezTo>
                      <a:cubicBezTo>
                        <a:pt x="2510" y="11547"/>
                        <a:pt x="2576" y="10868"/>
                        <a:pt x="3633" y="10936"/>
                      </a:cubicBezTo>
                      <a:cubicBezTo>
                        <a:pt x="3303" y="10868"/>
                        <a:pt x="3237" y="10800"/>
                        <a:pt x="2972" y="10732"/>
                      </a:cubicBezTo>
                      <a:cubicBezTo>
                        <a:pt x="4228" y="10392"/>
                        <a:pt x="4690" y="9373"/>
                        <a:pt x="5615" y="8626"/>
                      </a:cubicBezTo>
                      <a:cubicBezTo>
                        <a:pt x="5945" y="8422"/>
                        <a:pt x="5879" y="7472"/>
                        <a:pt x="6143" y="7472"/>
                      </a:cubicBezTo>
                      <a:cubicBezTo>
                        <a:pt x="6143" y="7472"/>
                        <a:pt x="6407" y="6792"/>
                        <a:pt x="6407" y="6792"/>
                      </a:cubicBezTo>
                      <a:cubicBezTo>
                        <a:pt x="6738" y="6181"/>
                        <a:pt x="7200" y="5773"/>
                        <a:pt x="7794" y="5502"/>
                      </a:cubicBezTo>
                      <a:cubicBezTo>
                        <a:pt x="8389" y="5298"/>
                        <a:pt x="9182" y="4279"/>
                        <a:pt x="9380" y="3600"/>
                      </a:cubicBezTo>
                      <a:cubicBezTo>
                        <a:pt x="8653" y="3804"/>
                        <a:pt x="8323" y="4143"/>
                        <a:pt x="7662" y="4143"/>
                      </a:cubicBezTo>
                      <a:cubicBezTo>
                        <a:pt x="7794" y="3939"/>
                        <a:pt x="8125" y="3804"/>
                        <a:pt x="8191" y="3736"/>
                      </a:cubicBezTo>
                      <a:cubicBezTo>
                        <a:pt x="8059" y="3736"/>
                        <a:pt x="7794" y="3668"/>
                        <a:pt x="7794" y="3668"/>
                      </a:cubicBezTo>
                      <a:cubicBezTo>
                        <a:pt x="7861" y="3328"/>
                        <a:pt x="7993" y="3192"/>
                        <a:pt x="8191" y="3192"/>
                      </a:cubicBezTo>
                      <a:cubicBezTo>
                        <a:pt x="8323" y="3192"/>
                        <a:pt x="8389" y="3260"/>
                        <a:pt x="8455" y="3260"/>
                      </a:cubicBezTo>
                      <a:cubicBezTo>
                        <a:pt x="8521" y="3056"/>
                        <a:pt x="8653" y="2989"/>
                        <a:pt x="8719" y="2853"/>
                      </a:cubicBezTo>
                      <a:cubicBezTo>
                        <a:pt x="8851" y="3056"/>
                        <a:pt x="8917" y="3192"/>
                        <a:pt x="8785" y="3396"/>
                      </a:cubicBezTo>
                      <a:cubicBezTo>
                        <a:pt x="9248" y="3396"/>
                        <a:pt x="9380" y="3736"/>
                        <a:pt x="9776" y="3736"/>
                      </a:cubicBezTo>
                      <a:cubicBezTo>
                        <a:pt x="9908" y="3736"/>
                        <a:pt x="10239" y="2989"/>
                        <a:pt x="10305" y="2989"/>
                      </a:cubicBezTo>
                      <a:cubicBezTo>
                        <a:pt x="10106" y="2921"/>
                        <a:pt x="10106" y="2853"/>
                        <a:pt x="9842" y="2921"/>
                      </a:cubicBezTo>
                      <a:cubicBezTo>
                        <a:pt x="9974" y="2649"/>
                        <a:pt x="10172" y="2445"/>
                        <a:pt x="10503" y="2445"/>
                      </a:cubicBezTo>
                      <a:cubicBezTo>
                        <a:pt x="10701" y="2445"/>
                        <a:pt x="10899" y="2513"/>
                        <a:pt x="11097" y="2377"/>
                      </a:cubicBezTo>
                      <a:cubicBezTo>
                        <a:pt x="10899" y="2241"/>
                        <a:pt x="10965" y="2241"/>
                        <a:pt x="10833" y="2106"/>
                      </a:cubicBezTo>
                      <a:cubicBezTo>
                        <a:pt x="11163" y="1834"/>
                        <a:pt x="11626" y="1834"/>
                        <a:pt x="12088" y="1766"/>
                      </a:cubicBezTo>
                      <a:cubicBezTo>
                        <a:pt x="12088" y="2106"/>
                        <a:pt x="12088" y="2106"/>
                        <a:pt x="12088" y="2106"/>
                      </a:cubicBezTo>
                      <a:cubicBezTo>
                        <a:pt x="12484" y="2038"/>
                        <a:pt x="12550" y="1358"/>
                        <a:pt x="13145" y="1290"/>
                      </a:cubicBezTo>
                      <a:cubicBezTo>
                        <a:pt x="13145" y="1834"/>
                        <a:pt x="13145" y="1834"/>
                        <a:pt x="13145" y="1834"/>
                      </a:cubicBezTo>
                      <a:cubicBezTo>
                        <a:pt x="13541" y="1087"/>
                        <a:pt x="14070" y="1290"/>
                        <a:pt x="14598" y="1019"/>
                      </a:cubicBezTo>
                      <a:cubicBezTo>
                        <a:pt x="14334" y="883"/>
                        <a:pt x="14136" y="815"/>
                        <a:pt x="14136" y="611"/>
                      </a:cubicBezTo>
                      <a:cubicBezTo>
                        <a:pt x="14136" y="475"/>
                        <a:pt x="14664" y="339"/>
                        <a:pt x="14730" y="204"/>
                      </a:cubicBezTo>
                      <a:cubicBezTo>
                        <a:pt x="14928" y="407"/>
                        <a:pt x="15061" y="611"/>
                        <a:pt x="15325" y="611"/>
                      </a:cubicBezTo>
                      <a:cubicBezTo>
                        <a:pt x="15787" y="611"/>
                        <a:pt x="16910" y="-136"/>
                        <a:pt x="16910" y="272"/>
                      </a:cubicBezTo>
                      <a:cubicBezTo>
                        <a:pt x="16910" y="679"/>
                        <a:pt x="16382" y="815"/>
                        <a:pt x="16316" y="1222"/>
                      </a:cubicBezTo>
                      <a:cubicBezTo>
                        <a:pt x="16844" y="1290"/>
                        <a:pt x="17042" y="611"/>
                        <a:pt x="17571" y="339"/>
                      </a:cubicBezTo>
                      <a:cubicBezTo>
                        <a:pt x="17637" y="543"/>
                        <a:pt x="17637" y="679"/>
                        <a:pt x="17703" y="883"/>
                      </a:cubicBezTo>
                      <a:cubicBezTo>
                        <a:pt x="18099" y="475"/>
                        <a:pt x="18297" y="339"/>
                        <a:pt x="18826" y="0"/>
                      </a:cubicBezTo>
                      <a:cubicBezTo>
                        <a:pt x="18826" y="407"/>
                        <a:pt x="18760" y="679"/>
                        <a:pt x="19090" y="747"/>
                      </a:cubicBezTo>
                      <a:cubicBezTo>
                        <a:pt x="19156" y="475"/>
                        <a:pt x="19288" y="272"/>
                        <a:pt x="19552" y="272"/>
                      </a:cubicBezTo>
                      <a:cubicBezTo>
                        <a:pt x="19684" y="272"/>
                        <a:pt x="20279" y="611"/>
                        <a:pt x="20543" y="747"/>
                      </a:cubicBezTo>
                      <a:cubicBezTo>
                        <a:pt x="20279" y="1494"/>
                        <a:pt x="20015" y="1222"/>
                        <a:pt x="19354" y="1494"/>
                      </a:cubicBezTo>
                      <a:cubicBezTo>
                        <a:pt x="19684" y="1698"/>
                        <a:pt x="19883" y="1766"/>
                        <a:pt x="19883" y="1902"/>
                      </a:cubicBezTo>
                      <a:cubicBezTo>
                        <a:pt x="20147" y="1970"/>
                        <a:pt x="20741" y="2038"/>
                        <a:pt x="20807" y="2038"/>
                      </a:cubicBezTo>
                      <a:cubicBezTo>
                        <a:pt x="20411" y="2309"/>
                        <a:pt x="19354" y="2853"/>
                        <a:pt x="19354" y="3600"/>
                      </a:cubicBezTo>
                      <a:cubicBezTo>
                        <a:pt x="19354" y="4143"/>
                        <a:pt x="20411" y="4075"/>
                        <a:pt x="20411" y="4755"/>
                      </a:cubicBezTo>
                      <a:cubicBezTo>
                        <a:pt x="20411" y="5298"/>
                        <a:pt x="19883" y="5502"/>
                        <a:pt x="19883" y="6045"/>
                      </a:cubicBezTo>
                      <a:cubicBezTo>
                        <a:pt x="19883" y="6589"/>
                        <a:pt x="20477" y="6928"/>
                        <a:pt x="20477" y="7539"/>
                      </a:cubicBezTo>
                      <a:cubicBezTo>
                        <a:pt x="20477" y="7879"/>
                        <a:pt x="20147" y="8083"/>
                        <a:pt x="20147" y="8422"/>
                      </a:cubicBezTo>
                      <a:cubicBezTo>
                        <a:pt x="20147" y="9102"/>
                        <a:pt x="21006" y="9238"/>
                        <a:pt x="21006" y="9917"/>
                      </a:cubicBezTo>
                      <a:cubicBezTo>
                        <a:pt x="21006" y="10121"/>
                        <a:pt x="20741" y="10256"/>
                        <a:pt x="20675" y="10324"/>
                      </a:cubicBezTo>
                      <a:cubicBezTo>
                        <a:pt x="20939" y="10800"/>
                        <a:pt x="21600" y="10936"/>
                        <a:pt x="21600" y="11547"/>
                      </a:cubicBezTo>
                      <a:cubicBezTo>
                        <a:pt x="21600" y="12566"/>
                        <a:pt x="19618" y="13653"/>
                        <a:pt x="19024" y="14468"/>
                      </a:cubicBezTo>
                      <a:cubicBezTo>
                        <a:pt x="18694" y="15079"/>
                        <a:pt x="17372" y="15215"/>
                        <a:pt x="16844" y="15079"/>
                      </a:cubicBezTo>
                      <a:cubicBezTo>
                        <a:pt x="16250" y="15283"/>
                        <a:pt x="15589" y="15555"/>
                        <a:pt x="15061" y="15555"/>
                      </a:cubicBezTo>
                      <a:cubicBezTo>
                        <a:pt x="14664" y="15555"/>
                        <a:pt x="14400" y="15487"/>
                        <a:pt x="14400" y="15147"/>
                      </a:cubicBezTo>
                      <a:cubicBezTo>
                        <a:pt x="13806" y="15147"/>
                        <a:pt x="13145" y="14739"/>
                        <a:pt x="13145" y="14128"/>
                      </a:cubicBezTo>
                      <a:cubicBezTo>
                        <a:pt x="13145" y="13789"/>
                        <a:pt x="13475" y="13585"/>
                        <a:pt x="13607" y="13449"/>
                      </a:cubicBezTo>
                      <a:cubicBezTo>
                        <a:pt x="13277" y="13313"/>
                        <a:pt x="13013" y="12634"/>
                        <a:pt x="13013" y="12294"/>
                      </a:cubicBezTo>
                      <a:cubicBezTo>
                        <a:pt x="13013" y="12090"/>
                        <a:pt x="13079" y="11955"/>
                        <a:pt x="13013" y="11683"/>
                      </a:cubicBezTo>
                      <a:cubicBezTo>
                        <a:pt x="14268" y="11683"/>
                        <a:pt x="14862" y="10053"/>
                        <a:pt x="15655" y="9645"/>
                      </a:cubicBezTo>
                      <a:cubicBezTo>
                        <a:pt x="16051" y="9373"/>
                        <a:pt x="16778" y="9238"/>
                        <a:pt x="16778" y="8694"/>
                      </a:cubicBezTo>
                      <a:cubicBezTo>
                        <a:pt x="16778" y="7947"/>
                        <a:pt x="15787" y="7811"/>
                        <a:pt x="15061" y="7811"/>
                      </a:cubicBezTo>
                      <a:cubicBezTo>
                        <a:pt x="14070" y="7811"/>
                        <a:pt x="13343" y="8151"/>
                        <a:pt x="13343" y="9034"/>
                      </a:cubicBezTo>
                      <a:cubicBezTo>
                        <a:pt x="13343" y="9373"/>
                        <a:pt x="13409" y="9509"/>
                        <a:pt x="13343" y="9713"/>
                      </a:cubicBezTo>
                      <a:cubicBezTo>
                        <a:pt x="13343" y="10392"/>
                        <a:pt x="11956" y="11004"/>
                        <a:pt x="11361" y="11343"/>
                      </a:cubicBezTo>
                      <a:cubicBezTo>
                        <a:pt x="10899" y="11683"/>
                        <a:pt x="10371" y="11751"/>
                        <a:pt x="10040" y="12294"/>
                      </a:cubicBezTo>
                      <a:cubicBezTo>
                        <a:pt x="9842" y="12702"/>
                        <a:pt x="10106" y="13313"/>
                        <a:pt x="9644" y="13517"/>
                      </a:cubicBezTo>
                      <a:cubicBezTo>
                        <a:pt x="9644" y="14128"/>
                        <a:pt x="9644" y="14128"/>
                        <a:pt x="9644" y="14128"/>
                      </a:cubicBezTo>
                      <a:cubicBezTo>
                        <a:pt x="9842" y="14264"/>
                        <a:pt x="9908" y="14468"/>
                        <a:pt x="9908" y="14672"/>
                      </a:cubicBezTo>
                      <a:cubicBezTo>
                        <a:pt x="10437" y="14739"/>
                        <a:pt x="11229" y="15283"/>
                        <a:pt x="11229" y="15826"/>
                      </a:cubicBezTo>
                      <a:cubicBezTo>
                        <a:pt x="11229" y="16302"/>
                        <a:pt x="10371" y="17049"/>
                        <a:pt x="10040" y="17049"/>
                      </a:cubicBezTo>
                      <a:cubicBezTo>
                        <a:pt x="9446" y="17049"/>
                        <a:pt x="9248" y="17932"/>
                        <a:pt x="9248" y="18543"/>
                      </a:cubicBezTo>
                      <a:cubicBezTo>
                        <a:pt x="9248" y="18883"/>
                        <a:pt x="9512" y="19019"/>
                        <a:pt x="9644" y="19087"/>
                      </a:cubicBezTo>
                      <a:cubicBezTo>
                        <a:pt x="9578" y="19834"/>
                        <a:pt x="8917" y="19902"/>
                        <a:pt x="8785" y="20513"/>
                      </a:cubicBezTo>
                      <a:cubicBezTo>
                        <a:pt x="8389" y="20513"/>
                        <a:pt x="8257" y="20513"/>
                        <a:pt x="7993" y="20513"/>
                      </a:cubicBezTo>
                      <a:cubicBezTo>
                        <a:pt x="7530" y="20513"/>
                        <a:pt x="7332" y="21464"/>
                        <a:pt x="6606" y="21464"/>
                      </a:cubicBezTo>
                      <a:cubicBezTo>
                        <a:pt x="6407" y="21464"/>
                        <a:pt x="5945" y="20173"/>
                        <a:pt x="5945" y="20038"/>
                      </a:cubicBezTo>
                      <a:cubicBezTo>
                        <a:pt x="5945" y="19970"/>
                        <a:pt x="6011" y="19834"/>
                        <a:pt x="6011" y="19766"/>
                      </a:cubicBezTo>
                      <a:cubicBezTo>
                        <a:pt x="5549" y="19222"/>
                        <a:pt x="5615" y="18815"/>
                        <a:pt x="5417" y="18136"/>
                      </a:cubicBezTo>
                      <a:cubicBezTo>
                        <a:pt x="5218" y="17728"/>
                        <a:pt x="4822" y="17592"/>
                        <a:pt x="4822" y="17049"/>
                      </a:cubicBezTo>
                      <a:cubicBezTo>
                        <a:pt x="4822" y="16845"/>
                        <a:pt x="4954" y="16573"/>
                        <a:pt x="5020" y="16506"/>
                      </a:cubicBezTo>
                      <a:lnTo>
                        <a:pt x="5020" y="16641"/>
                      </a:ln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/>
                  <a:endParaRPr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endParaRPr>
                </a:p>
              </p:txBody>
            </p:sp>
            <p:sp>
              <p:nvSpPr>
                <p:cNvPr id="227" name="ïṩlïdê"/>
                <p:cNvSpPr/>
                <p:nvPr/>
              </p:nvSpPr>
              <p:spPr>
                <a:xfrm>
                  <a:off x="600754" y="34786"/>
                  <a:ext cx="415477" cy="21674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8164" y="17592"/>
                      </a:moveTo>
                      <a:cubicBezTo>
                        <a:pt x="18041" y="16924"/>
                        <a:pt x="18041" y="16478"/>
                        <a:pt x="18164" y="15810"/>
                      </a:cubicBezTo>
                      <a:cubicBezTo>
                        <a:pt x="17550" y="15810"/>
                        <a:pt x="16445" y="15810"/>
                        <a:pt x="15709" y="15810"/>
                      </a:cubicBezTo>
                      <a:cubicBezTo>
                        <a:pt x="15832" y="14029"/>
                        <a:pt x="16445" y="14474"/>
                        <a:pt x="16568" y="12915"/>
                      </a:cubicBezTo>
                      <a:cubicBezTo>
                        <a:pt x="16200" y="12693"/>
                        <a:pt x="15709" y="10911"/>
                        <a:pt x="15464" y="10243"/>
                      </a:cubicBezTo>
                      <a:cubicBezTo>
                        <a:pt x="15709" y="10021"/>
                        <a:pt x="15955" y="10021"/>
                        <a:pt x="16200" y="10021"/>
                      </a:cubicBezTo>
                      <a:cubicBezTo>
                        <a:pt x="15341" y="9798"/>
                        <a:pt x="14850" y="8462"/>
                        <a:pt x="14850" y="8462"/>
                      </a:cubicBezTo>
                      <a:cubicBezTo>
                        <a:pt x="13009" y="8462"/>
                        <a:pt x="12518" y="12915"/>
                        <a:pt x="11905" y="15365"/>
                      </a:cubicBezTo>
                      <a:cubicBezTo>
                        <a:pt x="11782" y="16033"/>
                        <a:pt x="11414" y="15810"/>
                        <a:pt x="11045" y="16256"/>
                      </a:cubicBezTo>
                      <a:cubicBezTo>
                        <a:pt x="10186" y="17592"/>
                        <a:pt x="10309" y="20264"/>
                        <a:pt x="9573" y="21600"/>
                      </a:cubicBezTo>
                      <a:cubicBezTo>
                        <a:pt x="8223" y="20041"/>
                        <a:pt x="5277" y="18705"/>
                        <a:pt x="5277" y="15365"/>
                      </a:cubicBezTo>
                      <a:cubicBezTo>
                        <a:pt x="6014" y="15142"/>
                        <a:pt x="7364" y="15588"/>
                        <a:pt x="7364" y="15588"/>
                      </a:cubicBezTo>
                      <a:cubicBezTo>
                        <a:pt x="7855" y="14697"/>
                        <a:pt x="8468" y="14920"/>
                        <a:pt x="9082" y="14697"/>
                      </a:cubicBezTo>
                      <a:cubicBezTo>
                        <a:pt x="8836" y="14252"/>
                        <a:pt x="6995" y="14252"/>
                        <a:pt x="6627" y="14252"/>
                      </a:cubicBezTo>
                      <a:cubicBezTo>
                        <a:pt x="6014" y="14252"/>
                        <a:pt x="4664" y="15365"/>
                        <a:pt x="4664" y="12915"/>
                      </a:cubicBezTo>
                      <a:cubicBezTo>
                        <a:pt x="4664" y="12025"/>
                        <a:pt x="5891" y="12025"/>
                        <a:pt x="6136" y="12025"/>
                      </a:cubicBezTo>
                      <a:cubicBezTo>
                        <a:pt x="6873" y="11579"/>
                        <a:pt x="8345" y="10466"/>
                        <a:pt x="8836" y="9575"/>
                      </a:cubicBezTo>
                      <a:cubicBezTo>
                        <a:pt x="8100" y="9575"/>
                        <a:pt x="7732" y="9575"/>
                        <a:pt x="7486" y="9575"/>
                      </a:cubicBezTo>
                      <a:cubicBezTo>
                        <a:pt x="7364" y="9575"/>
                        <a:pt x="6873" y="8907"/>
                        <a:pt x="6627" y="8685"/>
                      </a:cubicBezTo>
                      <a:cubicBezTo>
                        <a:pt x="6505" y="8685"/>
                        <a:pt x="6382" y="8685"/>
                        <a:pt x="6259" y="8685"/>
                      </a:cubicBezTo>
                      <a:cubicBezTo>
                        <a:pt x="5768" y="9130"/>
                        <a:pt x="5768" y="11357"/>
                        <a:pt x="4664" y="11357"/>
                      </a:cubicBezTo>
                      <a:cubicBezTo>
                        <a:pt x="3805" y="11357"/>
                        <a:pt x="3191" y="10689"/>
                        <a:pt x="2823" y="9798"/>
                      </a:cubicBezTo>
                      <a:cubicBezTo>
                        <a:pt x="3068" y="9575"/>
                        <a:pt x="3191" y="9575"/>
                        <a:pt x="3314" y="9575"/>
                      </a:cubicBezTo>
                      <a:cubicBezTo>
                        <a:pt x="2332" y="8685"/>
                        <a:pt x="1595" y="7794"/>
                        <a:pt x="1841" y="6235"/>
                      </a:cubicBezTo>
                      <a:cubicBezTo>
                        <a:pt x="1595" y="6235"/>
                        <a:pt x="1473" y="5790"/>
                        <a:pt x="1350" y="5790"/>
                      </a:cubicBezTo>
                      <a:cubicBezTo>
                        <a:pt x="982" y="5790"/>
                        <a:pt x="368" y="4231"/>
                        <a:pt x="0" y="3563"/>
                      </a:cubicBezTo>
                      <a:cubicBezTo>
                        <a:pt x="245" y="3118"/>
                        <a:pt x="1350" y="1113"/>
                        <a:pt x="1964" y="1113"/>
                      </a:cubicBezTo>
                      <a:cubicBezTo>
                        <a:pt x="2823" y="1113"/>
                        <a:pt x="3314" y="1113"/>
                        <a:pt x="4664" y="1559"/>
                      </a:cubicBezTo>
                      <a:cubicBezTo>
                        <a:pt x="4295" y="2227"/>
                        <a:pt x="4173" y="2449"/>
                        <a:pt x="3927" y="2895"/>
                      </a:cubicBezTo>
                      <a:cubicBezTo>
                        <a:pt x="4541" y="3786"/>
                        <a:pt x="5032" y="3786"/>
                        <a:pt x="5400" y="4454"/>
                      </a:cubicBezTo>
                      <a:cubicBezTo>
                        <a:pt x="5155" y="4231"/>
                        <a:pt x="5032" y="3786"/>
                        <a:pt x="5032" y="3118"/>
                      </a:cubicBezTo>
                      <a:cubicBezTo>
                        <a:pt x="5032" y="2227"/>
                        <a:pt x="5523" y="1559"/>
                        <a:pt x="6014" y="1559"/>
                      </a:cubicBezTo>
                      <a:cubicBezTo>
                        <a:pt x="7364" y="1559"/>
                        <a:pt x="6995" y="4899"/>
                        <a:pt x="8345" y="5790"/>
                      </a:cubicBezTo>
                      <a:cubicBezTo>
                        <a:pt x="8100" y="4231"/>
                        <a:pt x="7732" y="3340"/>
                        <a:pt x="7732" y="1559"/>
                      </a:cubicBezTo>
                      <a:cubicBezTo>
                        <a:pt x="7732" y="0"/>
                        <a:pt x="8100" y="0"/>
                        <a:pt x="8836" y="0"/>
                      </a:cubicBezTo>
                      <a:cubicBezTo>
                        <a:pt x="9573" y="0"/>
                        <a:pt x="11045" y="891"/>
                        <a:pt x="11045" y="2004"/>
                      </a:cubicBezTo>
                      <a:cubicBezTo>
                        <a:pt x="11045" y="2672"/>
                        <a:pt x="10800" y="3340"/>
                        <a:pt x="10800" y="4008"/>
                      </a:cubicBezTo>
                      <a:cubicBezTo>
                        <a:pt x="11291" y="3563"/>
                        <a:pt x="11414" y="2672"/>
                        <a:pt x="11782" y="2672"/>
                      </a:cubicBezTo>
                      <a:cubicBezTo>
                        <a:pt x="12641" y="2672"/>
                        <a:pt x="12518" y="4231"/>
                        <a:pt x="12518" y="5122"/>
                      </a:cubicBezTo>
                      <a:cubicBezTo>
                        <a:pt x="12641" y="5122"/>
                        <a:pt x="12886" y="5122"/>
                        <a:pt x="13009" y="5122"/>
                      </a:cubicBezTo>
                      <a:cubicBezTo>
                        <a:pt x="13868" y="5122"/>
                        <a:pt x="16814" y="8016"/>
                        <a:pt x="17305" y="9130"/>
                      </a:cubicBezTo>
                      <a:cubicBezTo>
                        <a:pt x="17182" y="9353"/>
                        <a:pt x="16936" y="9353"/>
                        <a:pt x="16814" y="9353"/>
                      </a:cubicBezTo>
                      <a:cubicBezTo>
                        <a:pt x="17182" y="9575"/>
                        <a:pt x="17427" y="9353"/>
                        <a:pt x="17795" y="9353"/>
                      </a:cubicBezTo>
                      <a:cubicBezTo>
                        <a:pt x="17918" y="9798"/>
                        <a:pt x="17918" y="10466"/>
                        <a:pt x="17795" y="10911"/>
                      </a:cubicBezTo>
                      <a:cubicBezTo>
                        <a:pt x="18532" y="10911"/>
                        <a:pt x="18900" y="10911"/>
                        <a:pt x="19514" y="10911"/>
                      </a:cubicBezTo>
                      <a:cubicBezTo>
                        <a:pt x="19514" y="13806"/>
                        <a:pt x="21109" y="13138"/>
                        <a:pt x="21600" y="14252"/>
                      </a:cubicBezTo>
                      <a:cubicBezTo>
                        <a:pt x="20127" y="15142"/>
                        <a:pt x="19514" y="16924"/>
                        <a:pt x="18164" y="17592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endParaRPr>
                </a:p>
              </p:txBody>
            </p:sp>
            <p:sp>
              <p:nvSpPr>
                <p:cNvPr id="228" name="îṣlíde"/>
                <p:cNvSpPr/>
                <p:nvPr/>
              </p:nvSpPr>
              <p:spPr>
                <a:xfrm>
                  <a:off x="819721" y="-1"/>
                  <a:ext cx="266692" cy="9365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10010"/>
                      </a:moveTo>
                      <a:cubicBezTo>
                        <a:pt x="19705" y="13698"/>
                        <a:pt x="15537" y="21600"/>
                        <a:pt x="13074" y="21600"/>
                      </a:cubicBezTo>
                      <a:cubicBezTo>
                        <a:pt x="11558" y="21600"/>
                        <a:pt x="10800" y="20546"/>
                        <a:pt x="10232" y="17912"/>
                      </a:cubicBezTo>
                      <a:cubicBezTo>
                        <a:pt x="5305" y="17912"/>
                        <a:pt x="5305" y="17912"/>
                        <a:pt x="5305" y="17912"/>
                      </a:cubicBezTo>
                      <a:cubicBezTo>
                        <a:pt x="4737" y="16859"/>
                        <a:pt x="4358" y="15805"/>
                        <a:pt x="4358" y="13698"/>
                      </a:cubicBezTo>
                      <a:cubicBezTo>
                        <a:pt x="4926" y="13698"/>
                        <a:pt x="5874" y="13698"/>
                        <a:pt x="6063" y="13698"/>
                      </a:cubicBezTo>
                      <a:cubicBezTo>
                        <a:pt x="6821" y="13171"/>
                        <a:pt x="7579" y="13171"/>
                        <a:pt x="8147" y="12644"/>
                      </a:cubicBezTo>
                      <a:cubicBezTo>
                        <a:pt x="7768" y="12644"/>
                        <a:pt x="4358" y="12117"/>
                        <a:pt x="4168" y="12117"/>
                      </a:cubicBezTo>
                      <a:cubicBezTo>
                        <a:pt x="2653" y="12117"/>
                        <a:pt x="1137" y="14751"/>
                        <a:pt x="1137" y="9483"/>
                      </a:cubicBezTo>
                      <a:cubicBezTo>
                        <a:pt x="568" y="7902"/>
                        <a:pt x="0" y="6322"/>
                        <a:pt x="0" y="3688"/>
                      </a:cubicBezTo>
                      <a:cubicBezTo>
                        <a:pt x="1137" y="3688"/>
                        <a:pt x="1137" y="3688"/>
                        <a:pt x="1137" y="3688"/>
                      </a:cubicBezTo>
                      <a:cubicBezTo>
                        <a:pt x="1705" y="4741"/>
                        <a:pt x="2463" y="5268"/>
                        <a:pt x="2842" y="4215"/>
                      </a:cubicBezTo>
                      <a:cubicBezTo>
                        <a:pt x="2842" y="3161"/>
                        <a:pt x="2842" y="3161"/>
                        <a:pt x="2842" y="3161"/>
                      </a:cubicBezTo>
                      <a:cubicBezTo>
                        <a:pt x="4358" y="3161"/>
                        <a:pt x="4358" y="3161"/>
                        <a:pt x="4358" y="3161"/>
                      </a:cubicBezTo>
                      <a:cubicBezTo>
                        <a:pt x="3979" y="1054"/>
                        <a:pt x="3979" y="1054"/>
                        <a:pt x="3979" y="1054"/>
                      </a:cubicBezTo>
                      <a:cubicBezTo>
                        <a:pt x="6253" y="1054"/>
                        <a:pt x="6253" y="1054"/>
                        <a:pt x="6253" y="1054"/>
                      </a:cubicBezTo>
                      <a:cubicBezTo>
                        <a:pt x="6821" y="2107"/>
                        <a:pt x="9095" y="5795"/>
                        <a:pt x="9663" y="5795"/>
                      </a:cubicBezTo>
                      <a:cubicBezTo>
                        <a:pt x="10611" y="5795"/>
                        <a:pt x="11179" y="1054"/>
                        <a:pt x="11747" y="0"/>
                      </a:cubicBezTo>
                      <a:cubicBezTo>
                        <a:pt x="12695" y="0"/>
                        <a:pt x="12695" y="0"/>
                        <a:pt x="12695" y="0"/>
                      </a:cubicBezTo>
                      <a:cubicBezTo>
                        <a:pt x="12695" y="3161"/>
                        <a:pt x="12505" y="4215"/>
                        <a:pt x="12695" y="6322"/>
                      </a:cubicBezTo>
                      <a:cubicBezTo>
                        <a:pt x="13453" y="6322"/>
                        <a:pt x="13832" y="3688"/>
                        <a:pt x="15158" y="3688"/>
                      </a:cubicBezTo>
                      <a:cubicBezTo>
                        <a:pt x="17242" y="3688"/>
                        <a:pt x="16674" y="3688"/>
                        <a:pt x="18000" y="3688"/>
                      </a:cubicBezTo>
                      <a:cubicBezTo>
                        <a:pt x="19516" y="3688"/>
                        <a:pt x="21221" y="7376"/>
                        <a:pt x="21600" y="1001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endParaRPr>
                </a:p>
              </p:txBody>
            </p:sp>
            <p:sp>
              <p:nvSpPr>
                <p:cNvPr id="229" name="î$ḻïḑé"/>
                <p:cNvSpPr/>
                <p:nvPr/>
              </p:nvSpPr>
              <p:spPr>
                <a:xfrm>
                  <a:off x="0" y="1268334"/>
                  <a:ext cx="129135" cy="14717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3535" y="6314"/>
                      </a:moveTo>
                      <a:cubicBezTo>
                        <a:pt x="4713" y="6314"/>
                        <a:pt x="7462" y="5317"/>
                        <a:pt x="8640" y="4652"/>
                      </a:cubicBezTo>
                      <a:cubicBezTo>
                        <a:pt x="7855" y="3655"/>
                        <a:pt x="7462" y="3323"/>
                        <a:pt x="7462" y="2658"/>
                      </a:cubicBezTo>
                      <a:cubicBezTo>
                        <a:pt x="7462" y="1662"/>
                        <a:pt x="10996" y="0"/>
                        <a:pt x="12567" y="0"/>
                      </a:cubicBezTo>
                      <a:cubicBezTo>
                        <a:pt x="13745" y="0"/>
                        <a:pt x="14531" y="0"/>
                        <a:pt x="15709" y="0"/>
                      </a:cubicBezTo>
                      <a:cubicBezTo>
                        <a:pt x="19636" y="0"/>
                        <a:pt x="21600" y="3323"/>
                        <a:pt x="21600" y="5982"/>
                      </a:cubicBezTo>
                      <a:cubicBezTo>
                        <a:pt x="21600" y="6978"/>
                        <a:pt x="18458" y="6978"/>
                        <a:pt x="18458" y="7975"/>
                      </a:cubicBezTo>
                      <a:cubicBezTo>
                        <a:pt x="18458" y="8972"/>
                        <a:pt x="18458" y="12960"/>
                        <a:pt x="18458" y="12960"/>
                      </a:cubicBezTo>
                      <a:cubicBezTo>
                        <a:pt x="18458" y="14289"/>
                        <a:pt x="19636" y="15951"/>
                        <a:pt x="18458" y="17280"/>
                      </a:cubicBezTo>
                      <a:cubicBezTo>
                        <a:pt x="17280" y="17945"/>
                        <a:pt x="15709" y="17945"/>
                        <a:pt x="13745" y="17945"/>
                      </a:cubicBezTo>
                      <a:cubicBezTo>
                        <a:pt x="10996" y="17945"/>
                        <a:pt x="9033" y="20271"/>
                        <a:pt x="7462" y="21268"/>
                      </a:cubicBezTo>
                      <a:cubicBezTo>
                        <a:pt x="6676" y="21600"/>
                        <a:pt x="5105" y="21600"/>
                        <a:pt x="4320" y="21600"/>
                      </a:cubicBezTo>
                      <a:cubicBezTo>
                        <a:pt x="2356" y="21600"/>
                        <a:pt x="0" y="19938"/>
                        <a:pt x="0" y="18277"/>
                      </a:cubicBezTo>
                      <a:cubicBezTo>
                        <a:pt x="0" y="14622"/>
                        <a:pt x="4320" y="14289"/>
                        <a:pt x="5105" y="10966"/>
                      </a:cubicBezTo>
                      <a:cubicBezTo>
                        <a:pt x="3142" y="9969"/>
                        <a:pt x="1571" y="9305"/>
                        <a:pt x="1571" y="7643"/>
                      </a:cubicBezTo>
                      <a:cubicBezTo>
                        <a:pt x="1571" y="5982"/>
                        <a:pt x="3142" y="6314"/>
                        <a:pt x="3535" y="6314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endParaRPr>
                </a:p>
              </p:txBody>
            </p:sp>
            <p:sp>
              <p:nvSpPr>
                <p:cNvPr id="230" name="ï$ḻîḓè"/>
                <p:cNvSpPr/>
                <p:nvPr/>
              </p:nvSpPr>
              <p:spPr>
                <a:xfrm>
                  <a:off x="101061" y="1129192"/>
                  <a:ext cx="247041" cy="342504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8514" y="14637"/>
                      </a:moveTo>
                      <a:cubicBezTo>
                        <a:pt x="19131" y="14353"/>
                        <a:pt x="18926" y="14495"/>
                        <a:pt x="19749" y="14495"/>
                      </a:cubicBezTo>
                      <a:cubicBezTo>
                        <a:pt x="20777" y="14495"/>
                        <a:pt x="21600" y="15063"/>
                        <a:pt x="21600" y="15632"/>
                      </a:cubicBezTo>
                      <a:cubicBezTo>
                        <a:pt x="21600" y="16768"/>
                        <a:pt x="19337" y="17337"/>
                        <a:pt x="18720" y="18189"/>
                      </a:cubicBezTo>
                      <a:cubicBezTo>
                        <a:pt x="19543" y="18332"/>
                        <a:pt x="19954" y="18474"/>
                        <a:pt x="20571" y="18474"/>
                      </a:cubicBezTo>
                      <a:cubicBezTo>
                        <a:pt x="20571" y="18900"/>
                        <a:pt x="20571" y="18900"/>
                        <a:pt x="20571" y="18900"/>
                      </a:cubicBezTo>
                      <a:cubicBezTo>
                        <a:pt x="19749" y="19468"/>
                        <a:pt x="19131" y="19753"/>
                        <a:pt x="17897" y="19753"/>
                      </a:cubicBezTo>
                      <a:cubicBezTo>
                        <a:pt x="16869" y="19753"/>
                        <a:pt x="14811" y="19753"/>
                        <a:pt x="14400" y="19753"/>
                      </a:cubicBezTo>
                      <a:cubicBezTo>
                        <a:pt x="13371" y="19753"/>
                        <a:pt x="10903" y="20321"/>
                        <a:pt x="9669" y="20321"/>
                      </a:cubicBezTo>
                      <a:cubicBezTo>
                        <a:pt x="9051" y="20321"/>
                        <a:pt x="8640" y="20037"/>
                        <a:pt x="8023" y="20037"/>
                      </a:cubicBezTo>
                      <a:cubicBezTo>
                        <a:pt x="6994" y="20037"/>
                        <a:pt x="6583" y="20463"/>
                        <a:pt x="6583" y="21032"/>
                      </a:cubicBezTo>
                      <a:cubicBezTo>
                        <a:pt x="5349" y="21032"/>
                        <a:pt x="5349" y="21032"/>
                        <a:pt x="5349" y="21032"/>
                      </a:cubicBezTo>
                      <a:cubicBezTo>
                        <a:pt x="4731" y="21032"/>
                        <a:pt x="4320" y="21316"/>
                        <a:pt x="3909" y="21600"/>
                      </a:cubicBezTo>
                      <a:cubicBezTo>
                        <a:pt x="3291" y="21600"/>
                        <a:pt x="3291" y="21600"/>
                        <a:pt x="3291" y="21600"/>
                      </a:cubicBezTo>
                      <a:cubicBezTo>
                        <a:pt x="3291" y="21174"/>
                        <a:pt x="3291" y="21174"/>
                        <a:pt x="3291" y="21174"/>
                      </a:cubicBezTo>
                      <a:cubicBezTo>
                        <a:pt x="3497" y="20889"/>
                        <a:pt x="6171" y="18900"/>
                        <a:pt x="6583" y="18900"/>
                      </a:cubicBezTo>
                      <a:cubicBezTo>
                        <a:pt x="7817" y="18616"/>
                        <a:pt x="9669" y="18900"/>
                        <a:pt x="9669" y="18047"/>
                      </a:cubicBezTo>
                      <a:cubicBezTo>
                        <a:pt x="9669" y="17905"/>
                        <a:pt x="9463" y="17763"/>
                        <a:pt x="9463" y="17621"/>
                      </a:cubicBezTo>
                      <a:cubicBezTo>
                        <a:pt x="9051" y="17905"/>
                        <a:pt x="8434" y="18189"/>
                        <a:pt x="7817" y="18189"/>
                      </a:cubicBezTo>
                      <a:cubicBezTo>
                        <a:pt x="6583" y="18189"/>
                        <a:pt x="6171" y="17479"/>
                        <a:pt x="5349" y="17479"/>
                      </a:cubicBezTo>
                      <a:cubicBezTo>
                        <a:pt x="4731" y="17479"/>
                        <a:pt x="4731" y="17763"/>
                        <a:pt x="4320" y="17763"/>
                      </a:cubicBezTo>
                      <a:cubicBezTo>
                        <a:pt x="4114" y="17763"/>
                        <a:pt x="3909" y="17621"/>
                        <a:pt x="3909" y="17479"/>
                      </a:cubicBezTo>
                      <a:cubicBezTo>
                        <a:pt x="3909" y="16484"/>
                        <a:pt x="6377" y="16484"/>
                        <a:pt x="6377" y="15489"/>
                      </a:cubicBezTo>
                      <a:cubicBezTo>
                        <a:pt x="6377" y="14637"/>
                        <a:pt x="5760" y="14353"/>
                        <a:pt x="5760" y="13642"/>
                      </a:cubicBezTo>
                      <a:cubicBezTo>
                        <a:pt x="7406" y="13642"/>
                        <a:pt x="9257" y="13074"/>
                        <a:pt x="9874" y="12505"/>
                      </a:cubicBezTo>
                      <a:cubicBezTo>
                        <a:pt x="9874" y="11511"/>
                        <a:pt x="9874" y="11511"/>
                        <a:pt x="9874" y="11511"/>
                      </a:cubicBezTo>
                      <a:cubicBezTo>
                        <a:pt x="8846" y="11653"/>
                        <a:pt x="7611" y="11511"/>
                        <a:pt x="7611" y="10942"/>
                      </a:cubicBezTo>
                      <a:cubicBezTo>
                        <a:pt x="7611" y="10374"/>
                        <a:pt x="8023" y="10232"/>
                        <a:pt x="8229" y="9947"/>
                      </a:cubicBezTo>
                      <a:cubicBezTo>
                        <a:pt x="8023" y="9947"/>
                        <a:pt x="7817" y="9947"/>
                        <a:pt x="7406" y="9947"/>
                      </a:cubicBezTo>
                      <a:cubicBezTo>
                        <a:pt x="6583" y="9947"/>
                        <a:pt x="6171" y="10232"/>
                        <a:pt x="5349" y="10232"/>
                      </a:cubicBezTo>
                      <a:cubicBezTo>
                        <a:pt x="4526" y="10232"/>
                        <a:pt x="3909" y="10232"/>
                        <a:pt x="3909" y="9805"/>
                      </a:cubicBezTo>
                      <a:cubicBezTo>
                        <a:pt x="3909" y="9237"/>
                        <a:pt x="4731" y="8953"/>
                        <a:pt x="4731" y="8384"/>
                      </a:cubicBezTo>
                      <a:cubicBezTo>
                        <a:pt x="4731" y="7816"/>
                        <a:pt x="4526" y="7816"/>
                        <a:pt x="4731" y="7247"/>
                      </a:cubicBezTo>
                      <a:cubicBezTo>
                        <a:pt x="4114" y="7247"/>
                        <a:pt x="3497" y="7105"/>
                        <a:pt x="3291" y="6963"/>
                      </a:cubicBezTo>
                      <a:cubicBezTo>
                        <a:pt x="2880" y="7389"/>
                        <a:pt x="3086" y="7674"/>
                        <a:pt x="3291" y="7816"/>
                      </a:cubicBezTo>
                      <a:cubicBezTo>
                        <a:pt x="2469" y="7816"/>
                        <a:pt x="2469" y="7816"/>
                        <a:pt x="2469" y="7816"/>
                      </a:cubicBezTo>
                      <a:cubicBezTo>
                        <a:pt x="2469" y="7389"/>
                        <a:pt x="2469" y="7247"/>
                        <a:pt x="2469" y="6821"/>
                      </a:cubicBezTo>
                      <a:cubicBezTo>
                        <a:pt x="2469" y="6679"/>
                        <a:pt x="2674" y="6537"/>
                        <a:pt x="2880" y="6395"/>
                      </a:cubicBezTo>
                      <a:cubicBezTo>
                        <a:pt x="2880" y="5826"/>
                        <a:pt x="2880" y="5826"/>
                        <a:pt x="2880" y="5826"/>
                      </a:cubicBezTo>
                      <a:cubicBezTo>
                        <a:pt x="2469" y="5826"/>
                        <a:pt x="1646" y="5684"/>
                        <a:pt x="1646" y="5400"/>
                      </a:cubicBezTo>
                      <a:cubicBezTo>
                        <a:pt x="1646" y="5116"/>
                        <a:pt x="2263" y="4547"/>
                        <a:pt x="2263" y="4547"/>
                      </a:cubicBezTo>
                      <a:cubicBezTo>
                        <a:pt x="2263" y="4121"/>
                        <a:pt x="2263" y="4121"/>
                        <a:pt x="2263" y="4121"/>
                      </a:cubicBezTo>
                      <a:cubicBezTo>
                        <a:pt x="823" y="3837"/>
                        <a:pt x="0" y="3695"/>
                        <a:pt x="0" y="2842"/>
                      </a:cubicBezTo>
                      <a:cubicBezTo>
                        <a:pt x="1646" y="2842"/>
                        <a:pt x="1646" y="2842"/>
                        <a:pt x="1646" y="2842"/>
                      </a:cubicBezTo>
                      <a:cubicBezTo>
                        <a:pt x="1646" y="3268"/>
                        <a:pt x="2057" y="3411"/>
                        <a:pt x="2263" y="3411"/>
                      </a:cubicBezTo>
                      <a:cubicBezTo>
                        <a:pt x="2469" y="3411"/>
                        <a:pt x="2469" y="3126"/>
                        <a:pt x="2469" y="2984"/>
                      </a:cubicBezTo>
                      <a:cubicBezTo>
                        <a:pt x="2469" y="2984"/>
                        <a:pt x="2057" y="2842"/>
                        <a:pt x="2057" y="2700"/>
                      </a:cubicBezTo>
                      <a:cubicBezTo>
                        <a:pt x="2057" y="2132"/>
                        <a:pt x="2674" y="1989"/>
                        <a:pt x="3291" y="1989"/>
                      </a:cubicBezTo>
                      <a:cubicBezTo>
                        <a:pt x="3291" y="1421"/>
                        <a:pt x="3703" y="1137"/>
                        <a:pt x="3703" y="853"/>
                      </a:cubicBezTo>
                      <a:cubicBezTo>
                        <a:pt x="3703" y="568"/>
                        <a:pt x="4731" y="0"/>
                        <a:pt x="5143" y="0"/>
                      </a:cubicBezTo>
                      <a:cubicBezTo>
                        <a:pt x="6171" y="0"/>
                        <a:pt x="7200" y="0"/>
                        <a:pt x="7817" y="0"/>
                      </a:cubicBezTo>
                      <a:cubicBezTo>
                        <a:pt x="8229" y="0"/>
                        <a:pt x="8640" y="426"/>
                        <a:pt x="8640" y="568"/>
                      </a:cubicBezTo>
                      <a:cubicBezTo>
                        <a:pt x="8640" y="1421"/>
                        <a:pt x="6789" y="1421"/>
                        <a:pt x="6377" y="2274"/>
                      </a:cubicBezTo>
                      <a:cubicBezTo>
                        <a:pt x="6377" y="2416"/>
                        <a:pt x="6583" y="2558"/>
                        <a:pt x="6789" y="2700"/>
                      </a:cubicBezTo>
                      <a:cubicBezTo>
                        <a:pt x="12137" y="2700"/>
                        <a:pt x="12137" y="2700"/>
                        <a:pt x="12137" y="2700"/>
                      </a:cubicBezTo>
                      <a:cubicBezTo>
                        <a:pt x="12343" y="4547"/>
                        <a:pt x="9669" y="5258"/>
                        <a:pt x="9669" y="6537"/>
                      </a:cubicBezTo>
                      <a:cubicBezTo>
                        <a:pt x="9257" y="6679"/>
                        <a:pt x="9051" y="6821"/>
                        <a:pt x="8846" y="7105"/>
                      </a:cubicBezTo>
                      <a:cubicBezTo>
                        <a:pt x="9874" y="7247"/>
                        <a:pt x="10286" y="6963"/>
                        <a:pt x="10903" y="7105"/>
                      </a:cubicBezTo>
                      <a:cubicBezTo>
                        <a:pt x="12754" y="7532"/>
                        <a:pt x="12343" y="8953"/>
                        <a:pt x="13577" y="9805"/>
                      </a:cubicBezTo>
                      <a:cubicBezTo>
                        <a:pt x="15017" y="10800"/>
                        <a:pt x="17280" y="11226"/>
                        <a:pt x="17280" y="12647"/>
                      </a:cubicBezTo>
                      <a:cubicBezTo>
                        <a:pt x="17280" y="13216"/>
                        <a:pt x="18309" y="13500"/>
                        <a:pt x="18309" y="14068"/>
                      </a:cubicBezTo>
                      <a:cubicBezTo>
                        <a:pt x="18309" y="14211"/>
                        <a:pt x="18103" y="14353"/>
                        <a:pt x="17897" y="14495"/>
                      </a:cubicBezTo>
                      <a:cubicBezTo>
                        <a:pt x="17897" y="14921"/>
                        <a:pt x="17897" y="14921"/>
                        <a:pt x="17897" y="14921"/>
                      </a:cubicBezTo>
                      <a:cubicBezTo>
                        <a:pt x="18514" y="14779"/>
                        <a:pt x="18514" y="14637"/>
                        <a:pt x="18926" y="14495"/>
                      </a:cubicBezTo>
                      <a:lnTo>
                        <a:pt x="18514" y="14637"/>
                      </a:ln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endParaRPr>
                </a:p>
              </p:txBody>
            </p:sp>
            <p:sp>
              <p:nvSpPr>
                <p:cNvPr id="231" name="ïṥlíde"/>
                <p:cNvSpPr/>
                <p:nvPr/>
              </p:nvSpPr>
              <p:spPr>
                <a:xfrm>
                  <a:off x="659708" y="1884695"/>
                  <a:ext cx="81413" cy="4456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18933" extrusionOk="0">
                      <a:moveTo>
                        <a:pt x="0" y="2029"/>
                      </a:moveTo>
                      <a:cubicBezTo>
                        <a:pt x="0" y="4846"/>
                        <a:pt x="0" y="4846"/>
                        <a:pt x="0" y="4846"/>
                      </a:cubicBezTo>
                      <a:cubicBezTo>
                        <a:pt x="1234" y="6724"/>
                        <a:pt x="3086" y="6724"/>
                        <a:pt x="4320" y="6724"/>
                      </a:cubicBezTo>
                      <a:cubicBezTo>
                        <a:pt x="8640" y="8603"/>
                        <a:pt x="11726" y="16116"/>
                        <a:pt x="16663" y="17055"/>
                      </a:cubicBezTo>
                      <a:cubicBezTo>
                        <a:pt x="16663" y="18933"/>
                        <a:pt x="17897" y="18933"/>
                        <a:pt x="18514" y="18933"/>
                      </a:cubicBezTo>
                      <a:cubicBezTo>
                        <a:pt x="19749" y="18933"/>
                        <a:pt x="20366" y="17055"/>
                        <a:pt x="20366" y="16116"/>
                      </a:cubicBezTo>
                      <a:cubicBezTo>
                        <a:pt x="20366" y="13298"/>
                        <a:pt x="19131" y="12359"/>
                        <a:pt x="19131" y="9542"/>
                      </a:cubicBezTo>
                      <a:cubicBezTo>
                        <a:pt x="19131" y="7663"/>
                        <a:pt x="20366" y="4846"/>
                        <a:pt x="20366" y="4846"/>
                      </a:cubicBezTo>
                      <a:cubicBezTo>
                        <a:pt x="21600" y="150"/>
                        <a:pt x="21600" y="150"/>
                        <a:pt x="21600" y="150"/>
                      </a:cubicBezTo>
                      <a:cubicBezTo>
                        <a:pt x="17280" y="-789"/>
                        <a:pt x="15429" y="2968"/>
                        <a:pt x="12343" y="2968"/>
                      </a:cubicBezTo>
                      <a:cubicBezTo>
                        <a:pt x="8640" y="2968"/>
                        <a:pt x="6171" y="-2667"/>
                        <a:pt x="0" y="2029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endParaRPr>
                </a:p>
              </p:txBody>
            </p:sp>
            <p:sp>
              <p:nvSpPr>
                <p:cNvPr id="232" name="íṧliḑê"/>
                <p:cNvSpPr/>
                <p:nvPr/>
              </p:nvSpPr>
              <p:spPr>
                <a:xfrm>
                  <a:off x="544609" y="1723222"/>
                  <a:ext cx="28074" cy="5084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5400" y="4696"/>
                      </a:moveTo>
                      <a:cubicBezTo>
                        <a:pt x="10800" y="4696"/>
                        <a:pt x="14400" y="939"/>
                        <a:pt x="18000" y="0"/>
                      </a:cubicBezTo>
                      <a:cubicBezTo>
                        <a:pt x="18000" y="2817"/>
                        <a:pt x="19800" y="4696"/>
                        <a:pt x="21600" y="4696"/>
                      </a:cubicBezTo>
                      <a:cubicBezTo>
                        <a:pt x="19800" y="10330"/>
                        <a:pt x="18000" y="18783"/>
                        <a:pt x="14400" y="21600"/>
                      </a:cubicBezTo>
                      <a:cubicBezTo>
                        <a:pt x="7200" y="20661"/>
                        <a:pt x="3600" y="8452"/>
                        <a:pt x="0" y="5635"/>
                      </a:cubicBezTo>
                      <a:cubicBezTo>
                        <a:pt x="1800" y="5635"/>
                        <a:pt x="3600" y="4696"/>
                        <a:pt x="5400" y="4696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endParaRPr>
                </a:p>
              </p:txBody>
            </p:sp>
            <p:sp>
              <p:nvSpPr>
                <p:cNvPr id="233" name="ïṣḷïḍe"/>
                <p:cNvSpPr/>
                <p:nvPr/>
              </p:nvSpPr>
              <p:spPr>
                <a:xfrm>
                  <a:off x="538995" y="1779414"/>
                  <a:ext cx="42816" cy="74924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0589" h="21600" extrusionOk="0">
                      <a:moveTo>
                        <a:pt x="5684" y="9818"/>
                      </a:moveTo>
                      <a:cubicBezTo>
                        <a:pt x="5684" y="7855"/>
                        <a:pt x="1137" y="5891"/>
                        <a:pt x="0" y="3927"/>
                      </a:cubicBezTo>
                      <a:cubicBezTo>
                        <a:pt x="5684" y="2618"/>
                        <a:pt x="5684" y="0"/>
                        <a:pt x="10232" y="0"/>
                      </a:cubicBezTo>
                      <a:cubicBezTo>
                        <a:pt x="14779" y="0"/>
                        <a:pt x="15916" y="1964"/>
                        <a:pt x="17053" y="1964"/>
                      </a:cubicBezTo>
                      <a:cubicBezTo>
                        <a:pt x="21600" y="6545"/>
                        <a:pt x="20463" y="9164"/>
                        <a:pt x="20463" y="13745"/>
                      </a:cubicBezTo>
                      <a:cubicBezTo>
                        <a:pt x="20463" y="17673"/>
                        <a:pt x="11368" y="21600"/>
                        <a:pt x="6821" y="21600"/>
                      </a:cubicBezTo>
                      <a:cubicBezTo>
                        <a:pt x="2274" y="21600"/>
                        <a:pt x="2274" y="17673"/>
                        <a:pt x="2274" y="15709"/>
                      </a:cubicBezTo>
                      <a:cubicBezTo>
                        <a:pt x="2274" y="13091"/>
                        <a:pt x="5684" y="11782"/>
                        <a:pt x="5684" y="9818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endParaRPr>
                </a:p>
              </p:txBody>
            </p:sp>
            <p:sp>
              <p:nvSpPr>
                <p:cNvPr id="234" name="ïŝľíḓe"/>
                <p:cNvSpPr/>
                <p:nvPr/>
              </p:nvSpPr>
              <p:spPr>
                <a:xfrm>
                  <a:off x="370559" y="1824902"/>
                  <a:ext cx="22459" cy="1605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15429"/>
                      </a:moveTo>
                      <a:cubicBezTo>
                        <a:pt x="21600" y="18514"/>
                        <a:pt x="16800" y="21600"/>
                        <a:pt x="14400" y="21600"/>
                      </a:cubicBezTo>
                      <a:cubicBezTo>
                        <a:pt x="9600" y="21600"/>
                        <a:pt x="2400" y="9257"/>
                        <a:pt x="0" y="9257"/>
                      </a:cubicBezTo>
                      <a:cubicBezTo>
                        <a:pt x="7200" y="6171"/>
                        <a:pt x="12000" y="0"/>
                        <a:pt x="16800" y="0"/>
                      </a:cubicBezTo>
                      <a:cubicBezTo>
                        <a:pt x="16800" y="3086"/>
                        <a:pt x="21600" y="9257"/>
                        <a:pt x="21600" y="15429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endParaRPr>
                </a:p>
              </p:txBody>
            </p:sp>
            <p:sp>
              <p:nvSpPr>
                <p:cNvPr id="235" name="íşḷîďè"/>
                <p:cNvSpPr/>
                <p:nvPr/>
              </p:nvSpPr>
              <p:spPr>
                <a:xfrm>
                  <a:off x="586719" y="1254956"/>
                  <a:ext cx="28074" cy="3211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9800" y="15429"/>
                      </a:moveTo>
                      <a:cubicBezTo>
                        <a:pt x="9000" y="15429"/>
                        <a:pt x="0" y="13886"/>
                        <a:pt x="0" y="7714"/>
                      </a:cubicBezTo>
                      <a:cubicBezTo>
                        <a:pt x="0" y="4629"/>
                        <a:pt x="0" y="3086"/>
                        <a:pt x="0" y="0"/>
                      </a:cubicBezTo>
                      <a:cubicBezTo>
                        <a:pt x="16200" y="0"/>
                        <a:pt x="16200" y="0"/>
                        <a:pt x="16200" y="0"/>
                      </a:cubicBezTo>
                      <a:cubicBezTo>
                        <a:pt x="16200" y="9257"/>
                        <a:pt x="21600" y="7714"/>
                        <a:pt x="21600" y="13886"/>
                      </a:cubicBezTo>
                      <a:cubicBezTo>
                        <a:pt x="21600" y="20057"/>
                        <a:pt x="19800" y="18514"/>
                        <a:pt x="19800" y="21600"/>
                      </a:cubicBezTo>
                      <a:cubicBezTo>
                        <a:pt x="19800" y="20057"/>
                        <a:pt x="19800" y="18514"/>
                        <a:pt x="19800" y="15429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endParaRPr>
                </a:p>
              </p:txBody>
            </p:sp>
            <p:sp>
              <p:nvSpPr>
                <p:cNvPr id="236" name="í$ļïḓé"/>
                <p:cNvSpPr/>
                <p:nvPr/>
              </p:nvSpPr>
              <p:spPr>
                <a:xfrm>
                  <a:off x="823947" y="1153275"/>
                  <a:ext cx="26656" cy="40139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0509" h="21600" extrusionOk="0">
                      <a:moveTo>
                        <a:pt x="14618" y="7624"/>
                      </a:moveTo>
                      <a:cubicBezTo>
                        <a:pt x="14618" y="13976"/>
                        <a:pt x="6764" y="16518"/>
                        <a:pt x="873" y="21600"/>
                      </a:cubicBezTo>
                      <a:cubicBezTo>
                        <a:pt x="-1091" y="19059"/>
                        <a:pt x="873" y="17788"/>
                        <a:pt x="873" y="13976"/>
                      </a:cubicBezTo>
                      <a:cubicBezTo>
                        <a:pt x="873" y="11435"/>
                        <a:pt x="4800" y="1271"/>
                        <a:pt x="20509" y="0"/>
                      </a:cubicBezTo>
                      <a:cubicBezTo>
                        <a:pt x="18545" y="2541"/>
                        <a:pt x="14618" y="5082"/>
                        <a:pt x="14618" y="7624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endParaRPr>
                </a:p>
              </p:txBody>
            </p:sp>
            <p:sp>
              <p:nvSpPr>
                <p:cNvPr id="237" name="îśļiďè"/>
                <p:cNvSpPr/>
                <p:nvPr/>
              </p:nvSpPr>
              <p:spPr>
                <a:xfrm>
                  <a:off x="932012" y="1105110"/>
                  <a:ext cx="36496" cy="4549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6200" y="10800"/>
                      </a:moveTo>
                      <a:cubicBezTo>
                        <a:pt x="16200" y="12960"/>
                        <a:pt x="16200" y="15120"/>
                        <a:pt x="16200" y="17280"/>
                      </a:cubicBezTo>
                      <a:cubicBezTo>
                        <a:pt x="16200" y="18360"/>
                        <a:pt x="8100" y="21600"/>
                        <a:pt x="6750" y="21600"/>
                      </a:cubicBezTo>
                      <a:cubicBezTo>
                        <a:pt x="1350" y="21600"/>
                        <a:pt x="0" y="17280"/>
                        <a:pt x="0" y="14040"/>
                      </a:cubicBezTo>
                      <a:cubicBezTo>
                        <a:pt x="5400" y="14040"/>
                        <a:pt x="8100" y="10800"/>
                        <a:pt x="13500" y="10800"/>
                      </a:cubicBezTo>
                      <a:cubicBezTo>
                        <a:pt x="12150" y="8640"/>
                        <a:pt x="9450" y="7560"/>
                        <a:pt x="9450" y="5400"/>
                      </a:cubicBezTo>
                      <a:cubicBezTo>
                        <a:pt x="9450" y="2160"/>
                        <a:pt x="14850" y="0"/>
                        <a:pt x="14850" y="0"/>
                      </a:cubicBezTo>
                      <a:cubicBezTo>
                        <a:pt x="17550" y="3240"/>
                        <a:pt x="18900" y="4320"/>
                        <a:pt x="21600" y="5400"/>
                      </a:cubicBezTo>
                      <a:cubicBezTo>
                        <a:pt x="20250" y="7560"/>
                        <a:pt x="17550" y="10800"/>
                        <a:pt x="16200" y="1080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endParaRPr>
                </a:p>
              </p:txBody>
            </p:sp>
          </p:grpSp>
        </p:grpSp>
        <p:grpSp>
          <p:nvGrpSpPr>
            <p:cNvPr id="74" name="íşľîdê"/>
            <p:cNvGrpSpPr/>
            <p:nvPr/>
          </p:nvGrpSpPr>
          <p:grpSpPr>
            <a:xfrm>
              <a:off x="8296706" y="3234998"/>
              <a:ext cx="1705599" cy="1423519"/>
              <a:chOff x="0" y="0"/>
              <a:chExt cx="1705597" cy="1423517"/>
            </a:xfrm>
            <a:grpFill/>
          </p:grpSpPr>
          <p:sp>
            <p:nvSpPr>
              <p:cNvPr id="205" name="ïṩļïďê"/>
              <p:cNvSpPr/>
              <p:nvPr/>
            </p:nvSpPr>
            <p:spPr>
              <a:xfrm>
                <a:off x="512507" y="0"/>
                <a:ext cx="600757" cy="29701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42" y="4547"/>
                    </a:moveTo>
                    <a:cubicBezTo>
                      <a:pt x="11266" y="5359"/>
                      <a:pt x="12621" y="6334"/>
                      <a:pt x="13553" y="6334"/>
                    </a:cubicBezTo>
                    <a:cubicBezTo>
                      <a:pt x="13976" y="6334"/>
                      <a:pt x="14231" y="7308"/>
                      <a:pt x="14654" y="7308"/>
                    </a:cubicBezTo>
                    <a:cubicBezTo>
                      <a:pt x="14654" y="7795"/>
                      <a:pt x="14908" y="7958"/>
                      <a:pt x="15162" y="7958"/>
                    </a:cubicBezTo>
                    <a:cubicBezTo>
                      <a:pt x="16348" y="8770"/>
                      <a:pt x="16264" y="10719"/>
                      <a:pt x="17195" y="11531"/>
                    </a:cubicBezTo>
                    <a:cubicBezTo>
                      <a:pt x="17534" y="11856"/>
                      <a:pt x="18381" y="11044"/>
                      <a:pt x="18381" y="12668"/>
                    </a:cubicBezTo>
                    <a:cubicBezTo>
                      <a:pt x="18381" y="13480"/>
                      <a:pt x="17619" y="13155"/>
                      <a:pt x="17619" y="13805"/>
                    </a:cubicBezTo>
                    <a:cubicBezTo>
                      <a:pt x="17619" y="14129"/>
                      <a:pt x="18296" y="15429"/>
                      <a:pt x="18381" y="15591"/>
                    </a:cubicBezTo>
                    <a:cubicBezTo>
                      <a:pt x="18720" y="16241"/>
                      <a:pt x="18635" y="16728"/>
                      <a:pt x="18974" y="17540"/>
                    </a:cubicBezTo>
                    <a:cubicBezTo>
                      <a:pt x="19059" y="18027"/>
                      <a:pt x="19482" y="18352"/>
                      <a:pt x="19736" y="18352"/>
                    </a:cubicBezTo>
                    <a:cubicBezTo>
                      <a:pt x="19906" y="18352"/>
                      <a:pt x="19991" y="18839"/>
                      <a:pt x="20075" y="19164"/>
                    </a:cubicBezTo>
                    <a:cubicBezTo>
                      <a:pt x="20160" y="19489"/>
                      <a:pt x="20329" y="19164"/>
                      <a:pt x="20499" y="19326"/>
                    </a:cubicBezTo>
                    <a:cubicBezTo>
                      <a:pt x="20753" y="19326"/>
                      <a:pt x="20838" y="19814"/>
                      <a:pt x="20922" y="20138"/>
                    </a:cubicBezTo>
                    <a:cubicBezTo>
                      <a:pt x="20922" y="20463"/>
                      <a:pt x="21515" y="20301"/>
                      <a:pt x="21600" y="20463"/>
                    </a:cubicBezTo>
                    <a:cubicBezTo>
                      <a:pt x="21431" y="20626"/>
                      <a:pt x="21176" y="21113"/>
                      <a:pt x="21176" y="21600"/>
                    </a:cubicBezTo>
                    <a:cubicBezTo>
                      <a:pt x="21092" y="21600"/>
                      <a:pt x="21007" y="21600"/>
                      <a:pt x="20922" y="21600"/>
                    </a:cubicBezTo>
                    <a:cubicBezTo>
                      <a:pt x="20838" y="21600"/>
                      <a:pt x="20329" y="20788"/>
                      <a:pt x="20245" y="20626"/>
                    </a:cubicBezTo>
                    <a:cubicBezTo>
                      <a:pt x="19228" y="20626"/>
                      <a:pt x="19228" y="20626"/>
                      <a:pt x="19228" y="20626"/>
                    </a:cubicBezTo>
                    <a:cubicBezTo>
                      <a:pt x="18720" y="20463"/>
                      <a:pt x="17788" y="19651"/>
                      <a:pt x="17788" y="18839"/>
                    </a:cubicBezTo>
                    <a:cubicBezTo>
                      <a:pt x="17788" y="18677"/>
                      <a:pt x="17534" y="18514"/>
                      <a:pt x="17449" y="18352"/>
                    </a:cubicBezTo>
                    <a:cubicBezTo>
                      <a:pt x="16687" y="16890"/>
                      <a:pt x="16009" y="14941"/>
                      <a:pt x="14824" y="14941"/>
                    </a:cubicBezTo>
                    <a:cubicBezTo>
                      <a:pt x="13892" y="14941"/>
                      <a:pt x="13976" y="16241"/>
                      <a:pt x="13384" y="16728"/>
                    </a:cubicBezTo>
                    <a:cubicBezTo>
                      <a:pt x="13553" y="17540"/>
                      <a:pt x="13214" y="17865"/>
                      <a:pt x="13214" y="18352"/>
                    </a:cubicBezTo>
                    <a:cubicBezTo>
                      <a:pt x="12367" y="18352"/>
                      <a:pt x="12198" y="18352"/>
                      <a:pt x="11774" y="18352"/>
                    </a:cubicBezTo>
                    <a:cubicBezTo>
                      <a:pt x="10842" y="18352"/>
                      <a:pt x="10588" y="16241"/>
                      <a:pt x="9572" y="16241"/>
                    </a:cubicBezTo>
                    <a:cubicBezTo>
                      <a:pt x="9487" y="16241"/>
                      <a:pt x="9064" y="16241"/>
                      <a:pt x="9064" y="16565"/>
                    </a:cubicBezTo>
                    <a:cubicBezTo>
                      <a:pt x="8301" y="16565"/>
                      <a:pt x="8301" y="16565"/>
                      <a:pt x="8301" y="16565"/>
                    </a:cubicBezTo>
                    <a:cubicBezTo>
                      <a:pt x="7962" y="16565"/>
                      <a:pt x="7624" y="16565"/>
                      <a:pt x="7624" y="16078"/>
                    </a:cubicBezTo>
                    <a:cubicBezTo>
                      <a:pt x="7624" y="15104"/>
                      <a:pt x="8386" y="14779"/>
                      <a:pt x="8555" y="14617"/>
                    </a:cubicBezTo>
                    <a:cubicBezTo>
                      <a:pt x="8047" y="13642"/>
                      <a:pt x="8301" y="12668"/>
                      <a:pt x="8132" y="11531"/>
                    </a:cubicBezTo>
                    <a:cubicBezTo>
                      <a:pt x="7962" y="10719"/>
                      <a:pt x="6946" y="9907"/>
                      <a:pt x="6522" y="9582"/>
                    </a:cubicBezTo>
                    <a:cubicBezTo>
                      <a:pt x="6099" y="9095"/>
                      <a:pt x="5082" y="8770"/>
                      <a:pt x="4489" y="8770"/>
                    </a:cubicBezTo>
                    <a:cubicBezTo>
                      <a:pt x="3981" y="8770"/>
                      <a:pt x="3727" y="6983"/>
                      <a:pt x="3134" y="7308"/>
                    </a:cubicBezTo>
                    <a:cubicBezTo>
                      <a:pt x="3134" y="6659"/>
                      <a:pt x="3134" y="6659"/>
                      <a:pt x="3134" y="6659"/>
                    </a:cubicBezTo>
                    <a:cubicBezTo>
                      <a:pt x="3049" y="7146"/>
                      <a:pt x="2880" y="7958"/>
                      <a:pt x="2541" y="7958"/>
                    </a:cubicBezTo>
                    <a:cubicBezTo>
                      <a:pt x="2456" y="7958"/>
                      <a:pt x="2202" y="7958"/>
                      <a:pt x="2202" y="7795"/>
                    </a:cubicBezTo>
                    <a:cubicBezTo>
                      <a:pt x="2033" y="6983"/>
                      <a:pt x="2202" y="6659"/>
                      <a:pt x="2033" y="6171"/>
                    </a:cubicBezTo>
                    <a:cubicBezTo>
                      <a:pt x="1864" y="5522"/>
                      <a:pt x="1440" y="5847"/>
                      <a:pt x="1355" y="5359"/>
                    </a:cubicBezTo>
                    <a:cubicBezTo>
                      <a:pt x="1864" y="4710"/>
                      <a:pt x="2965" y="4872"/>
                      <a:pt x="3219" y="4060"/>
                    </a:cubicBezTo>
                    <a:cubicBezTo>
                      <a:pt x="2965" y="4060"/>
                      <a:pt x="2965" y="4060"/>
                      <a:pt x="2965" y="4060"/>
                    </a:cubicBezTo>
                    <a:cubicBezTo>
                      <a:pt x="2541" y="4223"/>
                      <a:pt x="2287" y="4385"/>
                      <a:pt x="1948" y="4385"/>
                    </a:cubicBezTo>
                    <a:cubicBezTo>
                      <a:pt x="1694" y="4385"/>
                      <a:pt x="1609" y="4223"/>
                      <a:pt x="1355" y="4223"/>
                    </a:cubicBezTo>
                    <a:cubicBezTo>
                      <a:pt x="1271" y="4060"/>
                      <a:pt x="1186" y="3735"/>
                      <a:pt x="1186" y="3573"/>
                    </a:cubicBezTo>
                    <a:cubicBezTo>
                      <a:pt x="932" y="2436"/>
                      <a:pt x="0" y="2923"/>
                      <a:pt x="0" y="1949"/>
                    </a:cubicBezTo>
                    <a:cubicBezTo>
                      <a:pt x="0" y="1462"/>
                      <a:pt x="339" y="1299"/>
                      <a:pt x="508" y="1299"/>
                    </a:cubicBezTo>
                    <a:cubicBezTo>
                      <a:pt x="1016" y="1299"/>
                      <a:pt x="1271" y="0"/>
                      <a:pt x="1948" y="0"/>
                    </a:cubicBezTo>
                    <a:cubicBezTo>
                      <a:pt x="2541" y="0"/>
                      <a:pt x="3049" y="1137"/>
                      <a:pt x="3727" y="1462"/>
                    </a:cubicBezTo>
                    <a:cubicBezTo>
                      <a:pt x="3727" y="2436"/>
                      <a:pt x="3727" y="3573"/>
                      <a:pt x="3727" y="4060"/>
                    </a:cubicBezTo>
                    <a:cubicBezTo>
                      <a:pt x="3727" y="4385"/>
                      <a:pt x="3896" y="4710"/>
                      <a:pt x="4235" y="4710"/>
                    </a:cubicBezTo>
                    <a:cubicBezTo>
                      <a:pt x="4235" y="5035"/>
                      <a:pt x="4744" y="6171"/>
                      <a:pt x="4998" y="6171"/>
                    </a:cubicBezTo>
                    <a:cubicBezTo>
                      <a:pt x="5252" y="6171"/>
                      <a:pt x="5591" y="5035"/>
                      <a:pt x="5675" y="4872"/>
                    </a:cubicBezTo>
                    <a:cubicBezTo>
                      <a:pt x="6014" y="4385"/>
                      <a:pt x="6014" y="4223"/>
                      <a:pt x="6607" y="4060"/>
                    </a:cubicBezTo>
                    <a:cubicBezTo>
                      <a:pt x="6946" y="3735"/>
                      <a:pt x="7369" y="2436"/>
                      <a:pt x="7793" y="2274"/>
                    </a:cubicBezTo>
                    <a:cubicBezTo>
                      <a:pt x="7878" y="2761"/>
                      <a:pt x="8132" y="2598"/>
                      <a:pt x="8301" y="2761"/>
                    </a:cubicBezTo>
                    <a:cubicBezTo>
                      <a:pt x="8725" y="2923"/>
                      <a:pt x="8979" y="3898"/>
                      <a:pt x="9233" y="4060"/>
                    </a:cubicBezTo>
                    <a:cubicBezTo>
                      <a:pt x="10249" y="4060"/>
                      <a:pt x="10249" y="4060"/>
                      <a:pt x="10249" y="4060"/>
                    </a:cubicBezTo>
                    <a:cubicBezTo>
                      <a:pt x="10419" y="4385"/>
                      <a:pt x="10842" y="4710"/>
                      <a:pt x="11012" y="4710"/>
                    </a:cubicBezTo>
                    <a:cubicBezTo>
                      <a:pt x="11012" y="4872"/>
                      <a:pt x="11012" y="4872"/>
                      <a:pt x="11012" y="4872"/>
                    </a:cubicBezTo>
                    <a:lnTo>
                      <a:pt x="10842" y="4547"/>
                    </a:ln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grpSp>
            <p:nvGrpSpPr>
              <p:cNvPr id="206" name="ïśļíḓè"/>
              <p:cNvGrpSpPr/>
              <p:nvPr/>
            </p:nvGrpSpPr>
            <p:grpSpPr>
              <a:xfrm>
                <a:off x="-1" y="64218"/>
                <a:ext cx="1705599" cy="1359300"/>
                <a:chOff x="0" y="0"/>
                <a:chExt cx="1705597" cy="1359299"/>
              </a:xfrm>
              <a:grpFill/>
            </p:grpSpPr>
            <p:sp>
              <p:nvSpPr>
                <p:cNvPr id="207" name="ïşḻîḓe"/>
                <p:cNvSpPr/>
                <p:nvPr/>
              </p:nvSpPr>
              <p:spPr>
                <a:xfrm>
                  <a:off x="610760" y="85625"/>
                  <a:ext cx="19653" cy="4281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8900" y="0"/>
                      </a:moveTo>
                      <a:cubicBezTo>
                        <a:pt x="18900" y="4547"/>
                        <a:pt x="21600" y="2274"/>
                        <a:pt x="21600" y="5684"/>
                      </a:cubicBezTo>
                      <a:cubicBezTo>
                        <a:pt x="21600" y="9095"/>
                        <a:pt x="18900" y="10232"/>
                        <a:pt x="13500" y="10232"/>
                      </a:cubicBezTo>
                      <a:cubicBezTo>
                        <a:pt x="13500" y="15916"/>
                        <a:pt x="16200" y="21600"/>
                        <a:pt x="5400" y="21600"/>
                      </a:cubicBezTo>
                      <a:cubicBezTo>
                        <a:pt x="2700" y="21600"/>
                        <a:pt x="0" y="18189"/>
                        <a:pt x="0" y="17053"/>
                      </a:cubicBezTo>
                      <a:cubicBezTo>
                        <a:pt x="0" y="12505"/>
                        <a:pt x="10800" y="11368"/>
                        <a:pt x="10800" y="9095"/>
                      </a:cubicBezTo>
                      <a:cubicBezTo>
                        <a:pt x="10800" y="4547"/>
                        <a:pt x="8100" y="0"/>
                        <a:pt x="18900" y="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endParaRPr>
                </a:p>
              </p:txBody>
            </p:sp>
            <p:sp>
              <p:nvSpPr>
                <p:cNvPr id="208" name="ïŝḻïde"/>
                <p:cNvSpPr/>
                <p:nvPr/>
              </p:nvSpPr>
              <p:spPr>
                <a:xfrm>
                  <a:off x="1043080" y="45489"/>
                  <a:ext cx="115100" cy="64219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5731" y="20110"/>
                      </a:moveTo>
                      <a:cubicBezTo>
                        <a:pt x="3967" y="16386"/>
                        <a:pt x="441" y="17876"/>
                        <a:pt x="0" y="13407"/>
                      </a:cubicBezTo>
                      <a:cubicBezTo>
                        <a:pt x="5731" y="13407"/>
                        <a:pt x="5731" y="13407"/>
                        <a:pt x="5731" y="13407"/>
                      </a:cubicBezTo>
                      <a:cubicBezTo>
                        <a:pt x="6171" y="13407"/>
                        <a:pt x="7935" y="12662"/>
                        <a:pt x="7935" y="12662"/>
                      </a:cubicBezTo>
                      <a:cubicBezTo>
                        <a:pt x="11020" y="10428"/>
                        <a:pt x="13665" y="11172"/>
                        <a:pt x="15429" y="9683"/>
                      </a:cubicBezTo>
                      <a:cubicBezTo>
                        <a:pt x="18073" y="7448"/>
                        <a:pt x="17192" y="0"/>
                        <a:pt x="19837" y="0"/>
                      </a:cubicBezTo>
                      <a:cubicBezTo>
                        <a:pt x="21159" y="0"/>
                        <a:pt x="21600" y="2979"/>
                        <a:pt x="21600" y="5214"/>
                      </a:cubicBezTo>
                      <a:cubicBezTo>
                        <a:pt x="21600" y="11917"/>
                        <a:pt x="17633" y="10428"/>
                        <a:pt x="17633" y="16386"/>
                      </a:cubicBezTo>
                      <a:cubicBezTo>
                        <a:pt x="14106" y="17876"/>
                        <a:pt x="12343" y="21600"/>
                        <a:pt x="8376" y="21600"/>
                      </a:cubicBezTo>
                      <a:cubicBezTo>
                        <a:pt x="7494" y="21600"/>
                        <a:pt x="4849" y="19366"/>
                        <a:pt x="4849" y="18621"/>
                      </a:cubicBezTo>
                      <a:lnTo>
                        <a:pt x="5731" y="20110"/>
                      </a:ln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endParaRPr>
                </a:p>
              </p:txBody>
            </p:sp>
            <p:sp>
              <p:nvSpPr>
                <p:cNvPr id="209" name="íṧḷïďè"/>
                <p:cNvSpPr/>
                <p:nvPr/>
              </p:nvSpPr>
              <p:spPr>
                <a:xfrm>
                  <a:off x="1121683" y="0"/>
                  <a:ext cx="61761" cy="5761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138" extrusionOk="0">
                      <a:moveTo>
                        <a:pt x="19108" y="20769"/>
                      </a:moveTo>
                      <a:cubicBezTo>
                        <a:pt x="14954" y="19938"/>
                        <a:pt x="14954" y="17446"/>
                        <a:pt x="15785" y="14123"/>
                      </a:cubicBezTo>
                      <a:cubicBezTo>
                        <a:pt x="10800" y="11631"/>
                        <a:pt x="11631" y="7477"/>
                        <a:pt x="6646" y="4985"/>
                      </a:cubicBezTo>
                      <a:cubicBezTo>
                        <a:pt x="4154" y="3323"/>
                        <a:pt x="1662" y="3323"/>
                        <a:pt x="0" y="0"/>
                      </a:cubicBezTo>
                      <a:cubicBezTo>
                        <a:pt x="7477" y="2492"/>
                        <a:pt x="10800" y="6646"/>
                        <a:pt x="14954" y="10800"/>
                      </a:cubicBezTo>
                      <a:cubicBezTo>
                        <a:pt x="17446" y="14123"/>
                        <a:pt x="21600" y="13292"/>
                        <a:pt x="21600" y="18277"/>
                      </a:cubicBezTo>
                      <a:cubicBezTo>
                        <a:pt x="21600" y="19108"/>
                        <a:pt x="21600" y="19938"/>
                        <a:pt x="21600" y="20769"/>
                      </a:cubicBezTo>
                      <a:cubicBezTo>
                        <a:pt x="20769" y="20769"/>
                        <a:pt x="19938" y="21600"/>
                        <a:pt x="19108" y="20769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endParaRPr>
                </a:p>
              </p:txBody>
            </p:sp>
            <p:sp>
              <p:nvSpPr>
                <p:cNvPr id="210" name="íSḻiḋe"/>
                <p:cNvSpPr/>
                <p:nvPr/>
              </p:nvSpPr>
              <p:spPr>
                <a:xfrm>
                  <a:off x="1230141" y="82950"/>
                  <a:ext cx="29100" cy="3478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0354" h="21600" extrusionOk="0">
                      <a:moveTo>
                        <a:pt x="10385" y="12150"/>
                      </a:moveTo>
                      <a:cubicBezTo>
                        <a:pt x="2077" y="12150"/>
                        <a:pt x="-1246" y="5400"/>
                        <a:pt x="416" y="0"/>
                      </a:cubicBezTo>
                      <a:cubicBezTo>
                        <a:pt x="5400" y="1350"/>
                        <a:pt x="20354" y="14850"/>
                        <a:pt x="20354" y="16200"/>
                      </a:cubicBezTo>
                      <a:cubicBezTo>
                        <a:pt x="20354" y="18900"/>
                        <a:pt x="17031" y="21600"/>
                        <a:pt x="15369" y="21600"/>
                      </a:cubicBezTo>
                      <a:cubicBezTo>
                        <a:pt x="13708" y="21600"/>
                        <a:pt x="10385" y="18900"/>
                        <a:pt x="10385" y="17550"/>
                      </a:cubicBezTo>
                      <a:cubicBezTo>
                        <a:pt x="10385" y="16200"/>
                        <a:pt x="10385" y="14850"/>
                        <a:pt x="10385" y="1215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endParaRPr>
                </a:p>
              </p:txBody>
            </p:sp>
            <p:sp>
              <p:nvSpPr>
                <p:cNvPr id="211" name="îṣḷiḑe"/>
                <p:cNvSpPr/>
                <p:nvPr/>
              </p:nvSpPr>
              <p:spPr>
                <a:xfrm>
                  <a:off x="1430483" y="216739"/>
                  <a:ext cx="16845" cy="1873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14400"/>
                      </a:moveTo>
                      <a:cubicBezTo>
                        <a:pt x="21600" y="16800"/>
                        <a:pt x="21600" y="19200"/>
                        <a:pt x="21600" y="21600"/>
                      </a:cubicBezTo>
                      <a:cubicBezTo>
                        <a:pt x="9257" y="21600"/>
                        <a:pt x="0" y="4800"/>
                        <a:pt x="0" y="0"/>
                      </a:cubicBezTo>
                      <a:cubicBezTo>
                        <a:pt x="12343" y="4800"/>
                        <a:pt x="21600" y="7200"/>
                        <a:pt x="21600" y="1440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endParaRPr>
                </a:p>
              </p:txBody>
            </p:sp>
            <p:sp>
              <p:nvSpPr>
                <p:cNvPr id="212" name="îṡ1ïḓê"/>
                <p:cNvSpPr/>
                <p:nvPr/>
              </p:nvSpPr>
              <p:spPr>
                <a:xfrm>
                  <a:off x="1385567" y="200684"/>
                  <a:ext cx="36496" cy="1605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18514"/>
                      </a:moveTo>
                      <a:cubicBezTo>
                        <a:pt x="20160" y="18514"/>
                        <a:pt x="18720" y="21600"/>
                        <a:pt x="17280" y="21600"/>
                      </a:cubicBezTo>
                      <a:cubicBezTo>
                        <a:pt x="10080" y="21600"/>
                        <a:pt x="0" y="15429"/>
                        <a:pt x="0" y="0"/>
                      </a:cubicBezTo>
                      <a:cubicBezTo>
                        <a:pt x="10080" y="0"/>
                        <a:pt x="15840" y="3086"/>
                        <a:pt x="21600" y="18514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endParaRPr>
                </a:p>
              </p:txBody>
            </p:sp>
            <p:sp>
              <p:nvSpPr>
                <p:cNvPr id="213" name="îṣľîde"/>
                <p:cNvSpPr/>
                <p:nvPr/>
              </p:nvSpPr>
              <p:spPr>
                <a:xfrm>
                  <a:off x="1391181" y="160546"/>
                  <a:ext cx="30882" cy="3211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21600"/>
                      </a:moveTo>
                      <a:cubicBezTo>
                        <a:pt x="14954" y="21600"/>
                        <a:pt x="1662" y="4629"/>
                        <a:pt x="0" y="0"/>
                      </a:cubicBezTo>
                      <a:cubicBezTo>
                        <a:pt x="9969" y="4629"/>
                        <a:pt x="18277" y="10800"/>
                        <a:pt x="21600" y="2160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endParaRPr>
                </a:p>
              </p:txBody>
            </p:sp>
            <p:sp>
              <p:nvSpPr>
                <p:cNvPr id="214" name="îṣlíďe"/>
                <p:cNvSpPr/>
                <p:nvPr/>
              </p:nvSpPr>
              <p:spPr>
                <a:xfrm>
                  <a:off x="1326615" y="136465"/>
                  <a:ext cx="42111" cy="24084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541" y="0"/>
                      </a:moveTo>
                      <a:cubicBezTo>
                        <a:pt x="7624" y="4320"/>
                        <a:pt x="19059" y="10800"/>
                        <a:pt x="21600" y="19440"/>
                      </a:cubicBezTo>
                      <a:cubicBezTo>
                        <a:pt x="21600" y="19440"/>
                        <a:pt x="19059" y="21600"/>
                        <a:pt x="17788" y="21600"/>
                      </a:cubicBezTo>
                      <a:cubicBezTo>
                        <a:pt x="12706" y="21600"/>
                        <a:pt x="0" y="12960"/>
                        <a:pt x="0" y="2160"/>
                      </a:cubicBezTo>
                      <a:cubicBezTo>
                        <a:pt x="1271" y="2160"/>
                        <a:pt x="1271" y="2160"/>
                        <a:pt x="1271" y="2160"/>
                      </a:cubicBezTo>
                      <a:lnTo>
                        <a:pt x="2541" y="0"/>
                      </a:ln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endParaRPr>
                </a:p>
              </p:txBody>
            </p:sp>
            <p:sp>
              <p:nvSpPr>
                <p:cNvPr id="215" name="îşļiḓê"/>
                <p:cNvSpPr/>
                <p:nvPr/>
              </p:nvSpPr>
              <p:spPr>
                <a:xfrm>
                  <a:off x="1281699" y="112224"/>
                  <a:ext cx="25267" cy="1369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0"/>
                      </a:moveTo>
                      <a:cubicBezTo>
                        <a:pt x="9818" y="10800"/>
                        <a:pt x="15709" y="7200"/>
                        <a:pt x="21600" y="21600"/>
                      </a:cubicBezTo>
                      <a:cubicBezTo>
                        <a:pt x="13745" y="21600"/>
                        <a:pt x="13745" y="21600"/>
                        <a:pt x="13745" y="21600"/>
                      </a:cubicBezTo>
                      <a:cubicBezTo>
                        <a:pt x="0" y="7200"/>
                        <a:pt x="0" y="7200"/>
                        <a:pt x="0" y="7200"/>
                      </a:cubicBezTo>
                      <a:cubicBezTo>
                        <a:pt x="1964" y="7200"/>
                        <a:pt x="5891" y="7200"/>
                        <a:pt x="5891" y="360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endParaRPr>
                </a:p>
              </p:txBody>
            </p:sp>
            <p:sp>
              <p:nvSpPr>
                <p:cNvPr id="216" name="ïṧḷïde"/>
                <p:cNvSpPr/>
                <p:nvPr/>
              </p:nvSpPr>
              <p:spPr>
                <a:xfrm>
                  <a:off x="925175" y="1146600"/>
                  <a:ext cx="112291" cy="10299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0278" extrusionOk="0">
                      <a:moveTo>
                        <a:pt x="10800" y="1764"/>
                      </a:moveTo>
                      <a:cubicBezTo>
                        <a:pt x="13500" y="1764"/>
                        <a:pt x="16650" y="882"/>
                        <a:pt x="19350" y="0"/>
                      </a:cubicBezTo>
                      <a:cubicBezTo>
                        <a:pt x="20250" y="2205"/>
                        <a:pt x="21600" y="3527"/>
                        <a:pt x="21600" y="5731"/>
                      </a:cubicBezTo>
                      <a:cubicBezTo>
                        <a:pt x="21600" y="10139"/>
                        <a:pt x="16200" y="20278"/>
                        <a:pt x="12150" y="20278"/>
                      </a:cubicBezTo>
                      <a:cubicBezTo>
                        <a:pt x="6300" y="20278"/>
                        <a:pt x="0" y="5731"/>
                        <a:pt x="0" y="1764"/>
                      </a:cubicBezTo>
                      <a:cubicBezTo>
                        <a:pt x="0" y="-1322"/>
                        <a:pt x="10800" y="1764"/>
                        <a:pt x="10800" y="1764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endParaRPr>
                </a:p>
              </p:txBody>
            </p:sp>
            <p:sp>
              <p:nvSpPr>
                <p:cNvPr id="217" name="íŝ1îḍé"/>
                <p:cNvSpPr/>
                <p:nvPr/>
              </p:nvSpPr>
              <p:spPr>
                <a:xfrm>
                  <a:off x="0" y="235468"/>
                  <a:ext cx="1191867" cy="858928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527" h="21600" extrusionOk="0">
                      <a:moveTo>
                        <a:pt x="21017" y="10490"/>
                      </a:moveTo>
                      <a:cubicBezTo>
                        <a:pt x="21314" y="10997"/>
                        <a:pt x="21527" y="12351"/>
                        <a:pt x="21527" y="13084"/>
                      </a:cubicBezTo>
                      <a:cubicBezTo>
                        <a:pt x="21527" y="13648"/>
                        <a:pt x="21399" y="14438"/>
                        <a:pt x="21229" y="14663"/>
                      </a:cubicBezTo>
                      <a:cubicBezTo>
                        <a:pt x="21229" y="15340"/>
                        <a:pt x="21229" y="15340"/>
                        <a:pt x="21229" y="15340"/>
                      </a:cubicBezTo>
                      <a:cubicBezTo>
                        <a:pt x="21144" y="15566"/>
                        <a:pt x="21187" y="15622"/>
                        <a:pt x="21102" y="15848"/>
                      </a:cubicBezTo>
                      <a:cubicBezTo>
                        <a:pt x="20762" y="16524"/>
                        <a:pt x="20421" y="16806"/>
                        <a:pt x="20251" y="17596"/>
                      </a:cubicBezTo>
                      <a:cubicBezTo>
                        <a:pt x="20081" y="18160"/>
                        <a:pt x="19699" y="18949"/>
                        <a:pt x="19699" y="19852"/>
                      </a:cubicBezTo>
                      <a:cubicBezTo>
                        <a:pt x="19699" y="19795"/>
                        <a:pt x="19699" y="19795"/>
                        <a:pt x="19699" y="19795"/>
                      </a:cubicBezTo>
                      <a:cubicBezTo>
                        <a:pt x="19486" y="20923"/>
                        <a:pt x="17955" y="20416"/>
                        <a:pt x="17785" y="21600"/>
                      </a:cubicBezTo>
                      <a:cubicBezTo>
                        <a:pt x="17658" y="21544"/>
                        <a:pt x="16892" y="20980"/>
                        <a:pt x="16850" y="20867"/>
                      </a:cubicBezTo>
                      <a:cubicBezTo>
                        <a:pt x="16425" y="20923"/>
                        <a:pt x="16595" y="21374"/>
                        <a:pt x="16127" y="21374"/>
                      </a:cubicBezTo>
                      <a:cubicBezTo>
                        <a:pt x="15362" y="21374"/>
                        <a:pt x="14171" y="20754"/>
                        <a:pt x="14171" y="19739"/>
                      </a:cubicBezTo>
                      <a:cubicBezTo>
                        <a:pt x="14171" y="19344"/>
                        <a:pt x="13916" y="19062"/>
                        <a:pt x="13916" y="18724"/>
                      </a:cubicBezTo>
                      <a:cubicBezTo>
                        <a:pt x="13916" y="18724"/>
                        <a:pt x="13916" y="18611"/>
                        <a:pt x="13916" y="18611"/>
                      </a:cubicBezTo>
                      <a:cubicBezTo>
                        <a:pt x="13746" y="18724"/>
                        <a:pt x="13661" y="18724"/>
                        <a:pt x="13533" y="18780"/>
                      </a:cubicBezTo>
                      <a:cubicBezTo>
                        <a:pt x="13278" y="18780"/>
                        <a:pt x="13278" y="18780"/>
                        <a:pt x="13278" y="18780"/>
                      </a:cubicBezTo>
                      <a:cubicBezTo>
                        <a:pt x="13363" y="18611"/>
                        <a:pt x="13448" y="18498"/>
                        <a:pt x="13448" y="18216"/>
                      </a:cubicBezTo>
                      <a:cubicBezTo>
                        <a:pt x="13448" y="17934"/>
                        <a:pt x="13321" y="17821"/>
                        <a:pt x="13236" y="17765"/>
                      </a:cubicBezTo>
                      <a:cubicBezTo>
                        <a:pt x="13236" y="17821"/>
                        <a:pt x="13193" y="17934"/>
                        <a:pt x="13193" y="17991"/>
                      </a:cubicBezTo>
                      <a:cubicBezTo>
                        <a:pt x="13023" y="18103"/>
                        <a:pt x="13023" y="18555"/>
                        <a:pt x="12725" y="18555"/>
                      </a:cubicBezTo>
                      <a:cubicBezTo>
                        <a:pt x="12640" y="18555"/>
                        <a:pt x="12555" y="18385"/>
                        <a:pt x="12555" y="18273"/>
                      </a:cubicBezTo>
                      <a:cubicBezTo>
                        <a:pt x="13023" y="18160"/>
                        <a:pt x="13108" y="16863"/>
                        <a:pt x="13108" y="16468"/>
                      </a:cubicBezTo>
                      <a:cubicBezTo>
                        <a:pt x="12768" y="16919"/>
                        <a:pt x="12300" y="18216"/>
                        <a:pt x="11875" y="18216"/>
                      </a:cubicBezTo>
                      <a:cubicBezTo>
                        <a:pt x="11662" y="18216"/>
                        <a:pt x="11747" y="17765"/>
                        <a:pt x="11747" y="17765"/>
                      </a:cubicBezTo>
                      <a:cubicBezTo>
                        <a:pt x="11620" y="17765"/>
                        <a:pt x="11195" y="16581"/>
                        <a:pt x="11067" y="16299"/>
                      </a:cubicBezTo>
                      <a:cubicBezTo>
                        <a:pt x="10727" y="15791"/>
                        <a:pt x="9621" y="15566"/>
                        <a:pt x="9026" y="15566"/>
                      </a:cubicBezTo>
                      <a:cubicBezTo>
                        <a:pt x="8346" y="15566"/>
                        <a:pt x="8218" y="15960"/>
                        <a:pt x="7793" y="16130"/>
                      </a:cubicBezTo>
                      <a:cubicBezTo>
                        <a:pt x="6858" y="16524"/>
                        <a:pt x="5667" y="16073"/>
                        <a:pt x="5497" y="17370"/>
                      </a:cubicBezTo>
                      <a:cubicBezTo>
                        <a:pt x="5114" y="17427"/>
                        <a:pt x="4817" y="17539"/>
                        <a:pt x="4392" y="17539"/>
                      </a:cubicBezTo>
                      <a:cubicBezTo>
                        <a:pt x="4094" y="17314"/>
                        <a:pt x="4094" y="17539"/>
                        <a:pt x="3881" y="17539"/>
                      </a:cubicBezTo>
                      <a:cubicBezTo>
                        <a:pt x="3201" y="17539"/>
                        <a:pt x="2946" y="18385"/>
                        <a:pt x="2096" y="18385"/>
                      </a:cubicBezTo>
                      <a:cubicBezTo>
                        <a:pt x="1755" y="18385"/>
                        <a:pt x="862" y="17821"/>
                        <a:pt x="862" y="17483"/>
                      </a:cubicBezTo>
                      <a:cubicBezTo>
                        <a:pt x="862" y="17088"/>
                        <a:pt x="1288" y="16919"/>
                        <a:pt x="1288" y="16355"/>
                      </a:cubicBezTo>
                      <a:cubicBezTo>
                        <a:pt x="1288" y="15622"/>
                        <a:pt x="1033" y="15227"/>
                        <a:pt x="905" y="14776"/>
                      </a:cubicBezTo>
                      <a:cubicBezTo>
                        <a:pt x="692" y="13704"/>
                        <a:pt x="650" y="13366"/>
                        <a:pt x="395" y="12407"/>
                      </a:cubicBezTo>
                      <a:cubicBezTo>
                        <a:pt x="310" y="12013"/>
                        <a:pt x="-73" y="11900"/>
                        <a:pt x="12" y="11505"/>
                      </a:cubicBezTo>
                      <a:cubicBezTo>
                        <a:pt x="55" y="11392"/>
                        <a:pt x="55" y="11336"/>
                        <a:pt x="140" y="11167"/>
                      </a:cubicBezTo>
                      <a:cubicBezTo>
                        <a:pt x="182" y="11336"/>
                        <a:pt x="225" y="11449"/>
                        <a:pt x="310" y="11505"/>
                      </a:cubicBezTo>
                      <a:cubicBezTo>
                        <a:pt x="352" y="11392"/>
                        <a:pt x="310" y="11336"/>
                        <a:pt x="310" y="11167"/>
                      </a:cubicBezTo>
                      <a:cubicBezTo>
                        <a:pt x="310" y="10828"/>
                        <a:pt x="55" y="10546"/>
                        <a:pt x="55" y="9926"/>
                      </a:cubicBezTo>
                      <a:cubicBezTo>
                        <a:pt x="55" y="9136"/>
                        <a:pt x="55" y="9080"/>
                        <a:pt x="55" y="8460"/>
                      </a:cubicBezTo>
                      <a:cubicBezTo>
                        <a:pt x="55" y="8234"/>
                        <a:pt x="225" y="8234"/>
                        <a:pt x="267" y="8178"/>
                      </a:cubicBezTo>
                      <a:cubicBezTo>
                        <a:pt x="310" y="8234"/>
                        <a:pt x="310" y="8347"/>
                        <a:pt x="310" y="8403"/>
                      </a:cubicBezTo>
                      <a:cubicBezTo>
                        <a:pt x="650" y="8347"/>
                        <a:pt x="1075" y="7726"/>
                        <a:pt x="1288" y="7444"/>
                      </a:cubicBezTo>
                      <a:cubicBezTo>
                        <a:pt x="1500" y="7162"/>
                        <a:pt x="2181" y="7106"/>
                        <a:pt x="2563" y="7050"/>
                      </a:cubicBezTo>
                      <a:cubicBezTo>
                        <a:pt x="3244" y="6880"/>
                        <a:pt x="4774" y="6204"/>
                        <a:pt x="4774" y="5358"/>
                      </a:cubicBezTo>
                      <a:cubicBezTo>
                        <a:pt x="4774" y="5189"/>
                        <a:pt x="4774" y="5076"/>
                        <a:pt x="4774" y="4907"/>
                      </a:cubicBezTo>
                      <a:cubicBezTo>
                        <a:pt x="4774" y="4681"/>
                        <a:pt x="4817" y="4455"/>
                        <a:pt x="4987" y="4286"/>
                      </a:cubicBezTo>
                      <a:cubicBezTo>
                        <a:pt x="5114" y="4512"/>
                        <a:pt x="5199" y="4625"/>
                        <a:pt x="5284" y="4794"/>
                      </a:cubicBezTo>
                      <a:cubicBezTo>
                        <a:pt x="5497" y="4625"/>
                        <a:pt x="5412" y="4230"/>
                        <a:pt x="5497" y="4004"/>
                      </a:cubicBezTo>
                      <a:cubicBezTo>
                        <a:pt x="5625" y="4061"/>
                        <a:pt x="5752" y="4173"/>
                        <a:pt x="5880" y="4173"/>
                      </a:cubicBezTo>
                      <a:cubicBezTo>
                        <a:pt x="5880" y="3497"/>
                        <a:pt x="6262" y="3384"/>
                        <a:pt x="6305" y="2820"/>
                      </a:cubicBezTo>
                      <a:cubicBezTo>
                        <a:pt x="6815" y="2820"/>
                        <a:pt x="6900" y="2312"/>
                        <a:pt x="7283" y="2312"/>
                      </a:cubicBezTo>
                      <a:cubicBezTo>
                        <a:pt x="7623" y="2312"/>
                        <a:pt x="7836" y="2820"/>
                        <a:pt x="7878" y="3271"/>
                      </a:cubicBezTo>
                      <a:cubicBezTo>
                        <a:pt x="7963" y="3102"/>
                        <a:pt x="8091" y="2989"/>
                        <a:pt x="8261" y="2989"/>
                      </a:cubicBezTo>
                      <a:cubicBezTo>
                        <a:pt x="8346" y="2989"/>
                        <a:pt x="8516" y="3158"/>
                        <a:pt x="8558" y="3158"/>
                      </a:cubicBezTo>
                      <a:cubicBezTo>
                        <a:pt x="8644" y="2933"/>
                        <a:pt x="8601" y="2763"/>
                        <a:pt x="8601" y="2538"/>
                      </a:cubicBezTo>
                      <a:cubicBezTo>
                        <a:pt x="8601" y="2199"/>
                        <a:pt x="8899" y="2030"/>
                        <a:pt x="8899" y="1692"/>
                      </a:cubicBezTo>
                      <a:cubicBezTo>
                        <a:pt x="8899" y="1354"/>
                        <a:pt x="9621" y="1128"/>
                        <a:pt x="9962" y="1128"/>
                      </a:cubicBezTo>
                      <a:cubicBezTo>
                        <a:pt x="10089" y="1128"/>
                        <a:pt x="10259" y="959"/>
                        <a:pt x="10302" y="959"/>
                      </a:cubicBezTo>
                      <a:cubicBezTo>
                        <a:pt x="10174" y="733"/>
                        <a:pt x="10004" y="620"/>
                        <a:pt x="9962" y="395"/>
                      </a:cubicBezTo>
                      <a:cubicBezTo>
                        <a:pt x="10599" y="733"/>
                        <a:pt x="10982" y="1072"/>
                        <a:pt x="11662" y="1072"/>
                      </a:cubicBezTo>
                      <a:cubicBezTo>
                        <a:pt x="11875" y="1072"/>
                        <a:pt x="11960" y="846"/>
                        <a:pt x="12173" y="846"/>
                      </a:cubicBezTo>
                      <a:cubicBezTo>
                        <a:pt x="12300" y="846"/>
                        <a:pt x="12555" y="1128"/>
                        <a:pt x="12555" y="1297"/>
                      </a:cubicBezTo>
                      <a:cubicBezTo>
                        <a:pt x="12555" y="1636"/>
                        <a:pt x="12258" y="1692"/>
                        <a:pt x="12130" y="1805"/>
                      </a:cubicBezTo>
                      <a:cubicBezTo>
                        <a:pt x="11875" y="3045"/>
                        <a:pt x="11875" y="3045"/>
                        <a:pt x="11875" y="3045"/>
                      </a:cubicBezTo>
                      <a:cubicBezTo>
                        <a:pt x="11875" y="3271"/>
                        <a:pt x="12173" y="3215"/>
                        <a:pt x="12258" y="3327"/>
                      </a:cubicBezTo>
                      <a:cubicBezTo>
                        <a:pt x="12385" y="3384"/>
                        <a:pt x="12385" y="3779"/>
                        <a:pt x="12470" y="3835"/>
                      </a:cubicBezTo>
                      <a:cubicBezTo>
                        <a:pt x="12938" y="4061"/>
                        <a:pt x="13236" y="4173"/>
                        <a:pt x="13703" y="4455"/>
                      </a:cubicBezTo>
                      <a:cubicBezTo>
                        <a:pt x="13958" y="4568"/>
                        <a:pt x="14086" y="5076"/>
                        <a:pt x="14426" y="5076"/>
                      </a:cubicBezTo>
                      <a:cubicBezTo>
                        <a:pt x="15021" y="5076"/>
                        <a:pt x="15107" y="3609"/>
                        <a:pt x="15192" y="3045"/>
                      </a:cubicBezTo>
                      <a:cubicBezTo>
                        <a:pt x="15192" y="846"/>
                        <a:pt x="15192" y="846"/>
                        <a:pt x="15192" y="846"/>
                      </a:cubicBezTo>
                      <a:cubicBezTo>
                        <a:pt x="15489" y="508"/>
                        <a:pt x="15404" y="226"/>
                        <a:pt x="15744" y="0"/>
                      </a:cubicBezTo>
                      <a:cubicBezTo>
                        <a:pt x="15787" y="620"/>
                        <a:pt x="16042" y="1072"/>
                        <a:pt x="16127" y="1579"/>
                      </a:cubicBezTo>
                      <a:cubicBezTo>
                        <a:pt x="16212" y="1917"/>
                        <a:pt x="16127" y="2369"/>
                        <a:pt x="16340" y="2538"/>
                      </a:cubicBezTo>
                      <a:cubicBezTo>
                        <a:pt x="16510" y="2651"/>
                        <a:pt x="16892" y="2763"/>
                        <a:pt x="16935" y="2820"/>
                      </a:cubicBezTo>
                      <a:cubicBezTo>
                        <a:pt x="17190" y="3045"/>
                        <a:pt x="17190" y="3835"/>
                        <a:pt x="17275" y="4230"/>
                      </a:cubicBezTo>
                      <a:cubicBezTo>
                        <a:pt x="17445" y="4907"/>
                        <a:pt x="17573" y="5245"/>
                        <a:pt x="17743" y="5865"/>
                      </a:cubicBezTo>
                      <a:cubicBezTo>
                        <a:pt x="17870" y="6429"/>
                        <a:pt x="18678" y="6655"/>
                        <a:pt x="19018" y="7106"/>
                      </a:cubicBezTo>
                      <a:cubicBezTo>
                        <a:pt x="19231" y="7388"/>
                        <a:pt x="19273" y="7839"/>
                        <a:pt x="19358" y="8234"/>
                      </a:cubicBezTo>
                      <a:cubicBezTo>
                        <a:pt x="19444" y="8516"/>
                        <a:pt x="19741" y="8516"/>
                        <a:pt x="19954" y="8516"/>
                      </a:cubicBezTo>
                      <a:cubicBezTo>
                        <a:pt x="19954" y="9531"/>
                        <a:pt x="20677" y="9926"/>
                        <a:pt x="21059" y="10433"/>
                      </a:cubicBezTo>
                      <a:lnTo>
                        <a:pt x="21017" y="10490"/>
                      </a:ln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/>
                  <a:endParaRPr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endParaRPr>
                </a:p>
              </p:txBody>
            </p:sp>
            <p:sp>
              <p:nvSpPr>
                <p:cNvPr id="218" name="iṡḻïḋè"/>
                <p:cNvSpPr/>
                <p:nvPr/>
              </p:nvSpPr>
              <p:spPr>
                <a:xfrm>
                  <a:off x="1354688" y="1147911"/>
                  <a:ext cx="224582" cy="211389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3050" y="5974"/>
                      </a:moveTo>
                      <a:cubicBezTo>
                        <a:pt x="13050" y="5974"/>
                        <a:pt x="13050" y="5285"/>
                        <a:pt x="13275" y="5055"/>
                      </a:cubicBezTo>
                      <a:cubicBezTo>
                        <a:pt x="13500" y="4136"/>
                        <a:pt x="14175" y="3906"/>
                        <a:pt x="15075" y="3906"/>
                      </a:cubicBezTo>
                      <a:cubicBezTo>
                        <a:pt x="15075" y="3677"/>
                        <a:pt x="15075" y="3447"/>
                        <a:pt x="15075" y="3217"/>
                      </a:cubicBezTo>
                      <a:cubicBezTo>
                        <a:pt x="15075" y="1838"/>
                        <a:pt x="16650" y="460"/>
                        <a:pt x="17550" y="0"/>
                      </a:cubicBezTo>
                      <a:cubicBezTo>
                        <a:pt x="17550" y="689"/>
                        <a:pt x="17775" y="919"/>
                        <a:pt x="18225" y="919"/>
                      </a:cubicBezTo>
                      <a:cubicBezTo>
                        <a:pt x="18225" y="1609"/>
                        <a:pt x="18000" y="2298"/>
                        <a:pt x="18675" y="2298"/>
                      </a:cubicBezTo>
                      <a:cubicBezTo>
                        <a:pt x="19350" y="2298"/>
                        <a:pt x="19800" y="1609"/>
                        <a:pt x="20250" y="1379"/>
                      </a:cubicBezTo>
                      <a:cubicBezTo>
                        <a:pt x="20475" y="1838"/>
                        <a:pt x="20700" y="1838"/>
                        <a:pt x="21150" y="1838"/>
                      </a:cubicBezTo>
                      <a:cubicBezTo>
                        <a:pt x="21150" y="2757"/>
                        <a:pt x="21150" y="3217"/>
                        <a:pt x="21600" y="3447"/>
                      </a:cubicBezTo>
                      <a:cubicBezTo>
                        <a:pt x="21375" y="4826"/>
                        <a:pt x="19350" y="8502"/>
                        <a:pt x="17775" y="8502"/>
                      </a:cubicBezTo>
                      <a:cubicBezTo>
                        <a:pt x="17550" y="9881"/>
                        <a:pt x="18000" y="10340"/>
                        <a:pt x="17775" y="11489"/>
                      </a:cubicBezTo>
                      <a:cubicBezTo>
                        <a:pt x="17325" y="11489"/>
                        <a:pt x="14850" y="12179"/>
                        <a:pt x="14175" y="12179"/>
                      </a:cubicBezTo>
                      <a:cubicBezTo>
                        <a:pt x="13725" y="13328"/>
                        <a:pt x="11025" y="19302"/>
                        <a:pt x="11025" y="19302"/>
                      </a:cubicBezTo>
                      <a:cubicBezTo>
                        <a:pt x="10125" y="20221"/>
                        <a:pt x="8325" y="21600"/>
                        <a:pt x="7200" y="21600"/>
                      </a:cubicBezTo>
                      <a:cubicBezTo>
                        <a:pt x="6750" y="21600"/>
                        <a:pt x="5625" y="21140"/>
                        <a:pt x="5175" y="21140"/>
                      </a:cubicBezTo>
                      <a:cubicBezTo>
                        <a:pt x="4500" y="21140"/>
                        <a:pt x="675" y="19532"/>
                        <a:pt x="675" y="19072"/>
                      </a:cubicBezTo>
                      <a:cubicBezTo>
                        <a:pt x="450" y="19072"/>
                        <a:pt x="0" y="18843"/>
                        <a:pt x="0" y="18613"/>
                      </a:cubicBezTo>
                      <a:cubicBezTo>
                        <a:pt x="0" y="16085"/>
                        <a:pt x="3150" y="14706"/>
                        <a:pt x="4050" y="13098"/>
                      </a:cubicBezTo>
                      <a:cubicBezTo>
                        <a:pt x="4500" y="12409"/>
                        <a:pt x="4950" y="11719"/>
                        <a:pt x="5625" y="11719"/>
                      </a:cubicBezTo>
                      <a:cubicBezTo>
                        <a:pt x="8100" y="11719"/>
                        <a:pt x="9450" y="9191"/>
                        <a:pt x="11250" y="8502"/>
                      </a:cubicBezTo>
                      <a:cubicBezTo>
                        <a:pt x="11700" y="8272"/>
                        <a:pt x="13050" y="5974"/>
                        <a:pt x="13050" y="5974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endParaRPr>
                </a:p>
              </p:txBody>
            </p:sp>
            <p:sp>
              <p:nvSpPr>
                <p:cNvPr id="219" name="ïŝḻïḍé"/>
                <p:cNvSpPr/>
                <p:nvPr/>
              </p:nvSpPr>
              <p:spPr>
                <a:xfrm>
                  <a:off x="1539967" y="941875"/>
                  <a:ext cx="165631" cy="23547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6693" y="8308"/>
                      </a:moveTo>
                      <a:cubicBezTo>
                        <a:pt x="6389" y="7477"/>
                        <a:pt x="5172" y="7269"/>
                        <a:pt x="5172" y="6438"/>
                      </a:cubicBezTo>
                      <a:cubicBezTo>
                        <a:pt x="5172" y="6231"/>
                        <a:pt x="5476" y="5815"/>
                        <a:pt x="5780" y="5608"/>
                      </a:cubicBezTo>
                      <a:cubicBezTo>
                        <a:pt x="2434" y="5192"/>
                        <a:pt x="608" y="2285"/>
                        <a:pt x="0" y="0"/>
                      </a:cubicBezTo>
                      <a:cubicBezTo>
                        <a:pt x="1217" y="1454"/>
                        <a:pt x="3651" y="1662"/>
                        <a:pt x="4868" y="2492"/>
                      </a:cubicBezTo>
                      <a:cubicBezTo>
                        <a:pt x="5780" y="3115"/>
                        <a:pt x="5780" y="3738"/>
                        <a:pt x="6693" y="3946"/>
                      </a:cubicBezTo>
                      <a:cubicBezTo>
                        <a:pt x="6389" y="4362"/>
                        <a:pt x="6085" y="4362"/>
                        <a:pt x="6085" y="4569"/>
                      </a:cubicBezTo>
                      <a:cubicBezTo>
                        <a:pt x="6085" y="5192"/>
                        <a:pt x="7606" y="7062"/>
                        <a:pt x="8214" y="7685"/>
                      </a:cubicBezTo>
                      <a:cubicBezTo>
                        <a:pt x="9127" y="7685"/>
                        <a:pt x="9127" y="7685"/>
                        <a:pt x="9127" y="7685"/>
                      </a:cubicBezTo>
                      <a:cubicBezTo>
                        <a:pt x="9127" y="7062"/>
                        <a:pt x="9735" y="6646"/>
                        <a:pt x="10344" y="6646"/>
                      </a:cubicBezTo>
                      <a:cubicBezTo>
                        <a:pt x="10648" y="6646"/>
                        <a:pt x="10952" y="6646"/>
                        <a:pt x="11256" y="6646"/>
                      </a:cubicBezTo>
                      <a:cubicBezTo>
                        <a:pt x="11256" y="9138"/>
                        <a:pt x="12777" y="10385"/>
                        <a:pt x="16124" y="10385"/>
                      </a:cubicBezTo>
                      <a:cubicBezTo>
                        <a:pt x="18558" y="10385"/>
                        <a:pt x="18558" y="9554"/>
                        <a:pt x="20687" y="9554"/>
                      </a:cubicBezTo>
                      <a:cubicBezTo>
                        <a:pt x="20992" y="9554"/>
                        <a:pt x="21600" y="9762"/>
                        <a:pt x="21600" y="9969"/>
                      </a:cubicBezTo>
                      <a:cubicBezTo>
                        <a:pt x="19775" y="11423"/>
                        <a:pt x="20383" y="13292"/>
                        <a:pt x="19166" y="14746"/>
                      </a:cubicBezTo>
                      <a:cubicBezTo>
                        <a:pt x="18558" y="14123"/>
                        <a:pt x="18558" y="14123"/>
                        <a:pt x="18558" y="14123"/>
                      </a:cubicBezTo>
                      <a:cubicBezTo>
                        <a:pt x="18254" y="14123"/>
                        <a:pt x="18254" y="14538"/>
                        <a:pt x="18254" y="14538"/>
                      </a:cubicBezTo>
                      <a:cubicBezTo>
                        <a:pt x="16732" y="14746"/>
                        <a:pt x="15515" y="14954"/>
                        <a:pt x="15515" y="15577"/>
                      </a:cubicBezTo>
                      <a:cubicBezTo>
                        <a:pt x="15515" y="15992"/>
                        <a:pt x="15820" y="16200"/>
                        <a:pt x="15820" y="16615"/>
                      </a:cubicBezTo>
                      <a:cubicBezTo>
                        <a:pt x="15820" y="17238"/>
                        <a:pt x="14299" y="18069"/>
                        <a:pt x="13994" y="18485"/>
                      </a:cubicBezTo>
                      <a:cubicBezTo>
                        <a:pt x="12777" y="19731"/>
                        <a:pt x="11865" y="21600"/>
                        <a:pt x="9127" y="21600"/>
                      </a:cubicBezTo>
                      <a:cubicBezTo>
                        <a:pt x="7910" y="21600"/>
                        <a:pt x="6997" y="21185"/>
                        <a:pt x="6997" y="20354"/>
                      </a:cubicBezTo>
                      <a:cubicBezTo>
                        <a:pt x="6997" y="19315"/>
                        <a:pt x="8823" y="18900"/>
                        <a:pt x="8823" y="17862"/>
                      </a:cubicBezTo>
                      <a:cubicBezTo>
                        <a:pt x="8823" y="15992"/>
                        <a:pt x="3651" y="16615"/>
                        <a:pt x="3651" y="14954"/>
                      </a:cubicBezTo>
                      <a:cubicBezTo>
                        <a:pt x="3651" y="14123"/>
                        <a:pt x="4868" y="13915"/>
                        <a:pt x="5780" y="13500"/>
                      </a:cubicBezTo>
                      <a:cubicBezTo>
                        <a:pt x="6997" y="12669"/>
                        <a:pt x="7301" y="11423"/>
                        <a:pt x="7301" y="9969"/>
                      </a:cubicBezTo>
                      <a:cubicBezTo>
                        <a:pt x="7301" y="9138"/>
                        <a:pt x="6693" y="8308"/>
                        <a:pt x="6693" y="7892"/>
                      </a:cubicBezTo>
                      <a:cubicBezTo>
                        <a:pt x="6693" y="7892"/>
                        <a:pt x="6693" y="7892"/>
                        <a:pt x="6693" y="7892"/>
                      </a:cubicBezTo>
                      <a:lnTo>
                        <a:pt x="6693" y="8308"/>
                      </a:ln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endParaRPr>
                </a:p>
              </p:txBody>
            </p:sp>
            <p:sp>
              <p:nvSpPr>
                <p:cNvPr id="220" name="ï$ḷîḑé"/>
                <p:cNvSpPr/>
                <p:nvPr/>
              </p:nvSpPr>
              <p:spPr>
                <a:xfrm>
                  <a:off x="1022196" y="1121153"/>
                  <a:ext cx="13697" cy="1605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0"/>
                      </a:moveTo>
                      <a:cubicBezTo>
                        <a:pt x="21600" y="12343"/>
                        <a:pt x="17280" y="15429"/>
                        <a:pt x="17280" y="21600"/>
                      </a:cubicBezTo>
                      <a:cubicBezTo>
                        <a:pt x="0" y="18514"/>
                        <a:pt x="0" y="9257"/>
                        <a:pt x="0" y="0"/>
                      </a:cubicBezTo>
                      <a:cubicBezTo>
                        <a:pt x="8640" y="0"/>
                        <a:pt x="17280" y="0"/>
                        <a:pt x="21600" y="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endParaRPr>
                </a:p>
              </p:txBody>
            </p:sp>
            <p:sp>
              <p:nvSpPr>
                <p:cNvPr id="221" name="îśļiďê"/>
                <p:cNvSpPr/>
                <p:nvPr/>
              </p:nvSpPr>
              <p:spPr>
                <a:xfrm>
                  <a:off x="683749" y="984107"/>
                  <a:ext cx="39303" cy="13697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15223" extrusionOk="0">
                      <a:moveTo>
                        <a:pt x="21600" y="8100"/>
                      </a:moveTo>
                      <a:cubicBezTo>
                        <a:pt x="14850" y="16200"/>
                        <a:pt x="5400" y="18900"/>
                        <a:pt x="0" y="8100"/>
                      </a:cubicBezTo>
                      <a:cubicBezTo>
                        <a:pt x="12150" y="-2700"/>
                        <a:pt x="13500" y="-2700"/>
                        <a:pt x="21600" y="8100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endParaRPr>
                </a:p>
              </p:txBody>
            </p:sp>
            <p:sp>
              <p:nvSpPr>
                <p:cNvPr id="222" name="iŝļíḋè"/>
                <p:cNvSpPr/>
                <p:nvPr/>
              </p:nvSpPr>
              <p:spPr>
                <a:xfrm>
                  <a:off x="492855" y="250242"/>
                  <a:ext cx="39303" cy="1466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19725" extrusionOk="0">
                      <a:moveTo>
                        <a:pt x="21600" y="1211"/>
                      </a:moveTo>
                      <a:cubicBezTo>
                        <a:pt x="21600" y="19725"/>
                        <a:pt x="21600" y="19725"/>
                        <a:pt x="21600" y="19725"/>
                      </a:cubicBezTo>
                      <a:cubicBezTo>
                        <a:pt x="20329" y="19725"/>
                        <a:pt x="17788" y="19725"/>
                        <a:pt x="16518" y="19725"/>
                      </a:cubicBezTo>
                      <a:cubicBezTo>
                        <a:pt x="10165" y="19725"/>
                        <a:pt x="2541" y="13554"/>
                        <a:pt x="0" y="7382"/>
                      </a:cubicBezTo>
                      <a:cubicBezTo>
                        <a:pt x="10165" y="1211"/>
                        <a:pt x="13976" y="-1875"/>
                        <a:pt x="21600" y="1211"/>
                      </a:cubicBezTo>
                      <a:close/>
                    </a:path>
                  </a:pathLst>
                </a:custGeom>
                <a:grpFill/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endParaRPr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endParaRPr>
                </a:p>
              </p:txBody>
            </p:sp>
          </p:grpSp>
        </p:grpSp>
        <p:grpSp>
          <p:nvGrpSpPr>
            <p:cNvPr id="75" name="iŝľïḑé"/>
            <p:cNvGrpSpPr/>
            <p:nvPr/>
          </p:nvGrpSpPr>
          <p:grpSpPr>
            <a:xfrm>
              <a:off x="5530307" y="131101"/>
              <a:ext cx="5036236" cy="3392904"/>
              <a:chOff x="-1" y="-1"/>
              <a:chExt cx="5036235" cy="3392903"/>
            </a:xfrm>
            <a:grpFill/>
          </p:grpSpPr>
          <p:sp>
            <p:nvSpPr>
              <p:cNvPr id="76" name="ïslîḍé"/>
              <p:cNvSpPr/>
              <p:nvPr/>
            </p:nvSpPr>
            <p:spPr>
              <a:xfrm>
                <a:off x="185279" y="1835591"/>
                <a:ext cx="1100449" cy="9070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5180" y="9440"/>
                    </a:moveTo>
                    <a:cubicBezTo>
                      <a:pt x="4718" y="8213"/>
                      <a:pt x="4718" y="8213"/>
                      <a:pt x="4718" y="8213"/>
                    </a:cubicBezTo>
                    <a:cubicBezTo>
                      <a:pt x="4718" y="8053"/>
                      <a:pt x="4857" y="8053"/>
                      <a:pt x="4903" y="7947"/>
                    </a:cubicBezTo>
                    <a:cubicBezTo>
                      <a:pt x="5042" y="7413"/>
                      <a:pt x="5088" y="7147"/>
                      <a:pt x="5227" y="6720"/>
                    </a:cubicBezTo>
                    <a:cubicBezTo>
                      <a:pt x="5319" y="6240"/>
                      <a:pt x="5735" y="6133"/>
                      <a:pt x="5735" y="5547"/>
                    </a:cubicBezTo>
                    <a:cubicBezTo>
                      <a:pt x="5735" y="5173"/>
                      <a:pt x="5643" y="4853"/>
                      <a:pt x="5643" y="4587"/>
                    </a:cubicBezTo>
                    <a:cubicBezTo>
                      <a:pt x="5643" y="4427"/>
                      <a:pt x="5735" y="4373"/>
                      <a:pt x="5782" y="4320"/>
                    </a:cubicBezTo>
                    <a:cubicBezTo>
                      <a:pt x="5782" y="4107"/>
                      <a:pt x="5782" y="4107"/>
                      <a:pt x="5782" y="4107"/>
                    </a:cubicBezTo>
                    <a:cubicBezTo>
                      <a:pt x="5597" y="4160"/>
                      <a:pt x="5550" y="4320"/>
                      <a:pt x="5412" y="4320"/>
                    </a:cubicBezTo>
                    <a:cubicBezTo>
                      <a:pt x="5180" y="4320"/>
                      <a:pt x="5088" y="4213"/>
                      <a:pt x="4995" y="4107"/>
                    </a:cubicBezTo>
                    <a:cubicBezTo>
                      <a:pt x="4672" y="4373"/>
                      <a:pt x="4533" y="4693"/>
                      <a:pt x="3978" y="4693"/>
                    </a:cubicBezTo>
                    <a:cubicBezTo>
                      <a:pt x="3515" y="4693"/>
                      <a:pt x="3376" y="4107"/>
                      <a:pt x="2960" y="4107"/>
                    </a:cubicBezTo>
                    <a:cubicBezTo>
                      <a:pt x="2498" y="4107"/>
                      <a:pt x="2590" y="4640"/>
                      <a:pt x="2220" y="4640"/>
                    </a:cubicBezTo>
                    <a:cubicBezTo>
                      <a:pt x="1850" y="4640"/>
                      <a:pt x="1619" y="4000"/>
                      <a:pt x="1249" y="4213"/>
                    </a:cubicBezTo>
                    <a:cubicBezTo>
                      <a:pt x="1018" y="4213"/>
                      <a:pt x="1018" y="4213"/>
                      <a:pt x="1018" y="4213"/>
                    </a:cubicBezTo>
                    <a:cubicBezTo>
                      <a:pt x="1110" y="4213"/>
                      <a:pt x="1156" y="4160"/>
                      <a:pt x="1203" y="4107"/>
                    </a:cubicBezTo>
                    <a:cubicBezTo>
                      <a:pt x="1064" y="3947"/>
                      <a:pt x="463" y="3573"/>
                      <a:pt x="694" y="3360"/>
                    </a:cubicBezTo>
                    <a:cubicBezTo>
                      <a:pt x="509" y="3040"/>
                      <a:pt x="278" y="3093"/>
                      <a:pt x="0" y="2933"/>
                    </a:cubicBezTo>
                    <a:cubicBezTo>
                      <a:pt x="185" y="2667"/>
                      <a:pt x="416" y="2720"/>
                      <a:pt x="416" y="2293"/>
                    </a:cubicBezTo>
                    <a:cubicBezTo>
                      <a:pt x="416" y="2133"/>
                      <a:pt x="370" y="2133"/>
                      <a:pt x="416" y="1973"/>
                    </a:cubicBezTo>
                    <a:cubicBezTo>
                      <a:pt x="278" y="1973"/>
                      <a:pt x="46" y="2027"/>
                      <a:pt x="46" y="1867"/>
                    </a:cubicBezTo>
                    <a:cubicBezTo>
                      <a:pt x="46" y="1173"/>
                      <a:pt x="1526" y="1280"/>
                      <a:pt x="1896" y="1067"/>
                    </a:cubicBezTo>
                    <a:cubicBezTo>
                      <a:pt x="1850" y="907"/>
                      <a:pt x="1758" y="960"/>
                      <a:pt x="1758" y="800"/>
                    </a:cubicBezTo>
                    <a:cubicBezTo>
                      <a:pt x="1758" y="587"/>
                      <a:pt x="2128" y="693"/>
                      <a:pt x="2220" y="693"/>
                    </a:cubicBezTo>
                    <a:cubicBezTo>
                      <a:pt x="2451" y="693"/>
                      <a:pt x="2868" y="693"/>
                      <a:pt x="2868" y="693"/>
                    </a:cubicBezTo>
                    <a:cubicBezTo>
                      <a:pt x="3099" y="693"/>
                      <a:pt x="3469" y="373"/>
                      <a:pt x="3700" y="213"/>
                    </a:cubicBezTo>
                    <a:cubicBezTo>
                      <a:pt x="3978" y="0"/>
                      <a:pt x="4533" y="0"/>
                      <a:pt x="4903" y="0"/>
                    </a:cubicBezTo>
                    <a:cubicBezTo>
                      <a:pt x="5412" y="0"/>
                      <a:pt x="5412" y="373"/>
                      <a:pt x="5874" y="373"/>
                    </a:cubicBezTo>
                    <a:cubicBezTo>
                      <a:pt x="5874" y="640"/>
                      <a:pt x="6660" y="800"/>
                      <a:pt x="6892" y="800"/>
                    </a:cubicBezTo>
                    <a:cubicBezTo>
                      <a:pt x="7493" y="800"/>
                      <a:pt x="7863" y="800"/>
                      <a:pt x="8048" y="800"/>
                    </a:cubicBezTo>
                    <a:cubicBezTo>
                      <a:pt x="8603" y="800"/>
                      <a:pt x="8881" y="160"/>
                      <a:pt x="9482" y="160"/>
                    </a:cubicBezTo>
                    <a:cubicBezTo>
                      <a:pt x="10129" y="160"/>
                      <a:pt x="10083" y="640"/>
                      <a:pt x="10314" y="1120"/>
                    </a:cubicBezTo>
                    <a:cubicBezTo>
                      <a:pt x="10361" y="1227"/>
                      <a:pt x="10777" y="1493"/>
                      <a:pt x="10777" y="1493"/>
                    </a:cubicBezTo>
                    <a:cubicBezTo>
                      <a:pt x="11147" y="1653"/>
                      <a:pt x="11239" y="2347"/>
                      <a:pt x="11841" y="2347"/>
                    </a:cubicBezTo>
                    <a:cubicBezTo>
                      <a:pt x="12257" y="2347"/>
                      <a:pt x="12257" y="1920"/>
                      <a:pt x="12534" y="1813"/>
                    </a:cubicBezTo>
                    <a:cubicBezTo>
                      <a:pt x="12719" y="1760"/>
                      <a:pt x="12673" y="1760"/>
                      <a:pt x="12858" y="1760"/>
                    </a:cubicBezTo>
                    <a:cubicBezTo>
                      <a:pt x="12904" y="1867"/>
                      <a:pt x="12904" y="2080"/>
                      <a:pt x="12997" y="2187"/>
                    </a:cubicBezTo>
                    <a:cubicBezTo>
                      <a:pt x="12951" y="2187"/>
                      <a:pt x="12997" y="2240"/>
                      <a:pt x="12997" y="2293"/>
                    </a:cubicBezTo>
                    <a:cubicBezTo>
                      <a:pt x="12997" y="2560"/>
                      <a:pt x="13136" y="2507"/>
                      <a:pt x="13228" y="2720"/>
                    </a:cubicBezTo>
                    <a:cubicBezTo>
                      <a:pt x="13413" y="2987"/>
                      <a:pt x="13228" y="3147"/>
                      <a:pt x="13367" y="3467"/>
                    </a:cubicBezTo>
                    <a:cubicBezTo>
                      <a:pt x="13460" y="3733"/>
                      <a:pt x="13737" y="3573"/>
                      <a:pt x="13922" y="3627"/>
                    </a:cubicBezTo>
                    <a:cubicBezTo>
                      <a:pt x="14107" y="3680"/>
                      <a:pt x="14153" y="3893"/>
                      <a:pt x="14292" y="4053"/>
                    </a:cubicBezTo>
                    <a:cubicBezTo>
                      <a:pt x="14431" y="4213"/>
                      <a:pt x="14940" y="4160"/>
                      <a:pt x="15217" y="4160"/>
                    </a:cubicBezTo>
                    <a:cubicBezTo>
                      <a:pt x="15587" y="4160"/>
                      <a:pt x="15957" y="4107"/>
                      <a:pt x="16188" y="4053"/>
                    </a:cubicBezTo>
                    <a:cubicBezTo>
                      <a:pt x="16188" y="3840"/>
                      <a:pt x="16188" y="3787"/>
                      <a:pt x="16188" y="3627"/>
                    </a:cubicBezTo>
                    <a:cubicBezTo>
                      <a:pt x="16188" y="3413"/>
                      <a:pt x="16420" y="3413"/>
                      <a:pt x="16605" y="3360"/>
                    </a:cubicBezTo>
                    <a:cubicBezTo>
                      <a:pt x="16836" y="3253"/>
                      <a:pt x="16790" y="3147"/>
                      <a:pt x="17021" y="3040"/>
                    </a:cubicBezTo>
                    <a:cubicBezTo>
                      <a:pt x="17391" y="2880"/>
                      <a:pt x="17622" y="2987"/>
                      <a:pt x="17900" y="2720"/>
                    </a:cubicBezTo>
                    <a:cubicBezTo>
                      <a:pt x="18362" y="3040"/>
                      <a:pt x="18640" y="3040"/>
                      <a:pt x="19056" y="3200"/>
                    </a:cubicBezTo>
                    <a:cubicBezTo>
                      <a:pt x="19565" y="3413"/>
                      <a:pt x="19704" y="3947"/>
                      <a:pt x="20305" y="3947"/>
                    </a:cubicBezTo>
                    <a:cubicBezTo>
                      <a:pt x="20305" y="4053"/>
                      <a:pt x="20444" y="4107"/>
                      <a:pt x="20490" y="4213"/>
                    </a:cubicBezTo>
                    <a:cubicBezTo>
                      <a:pt x="20582" y="4587"/>
                      <a:pt x="20444" y="4907"/>
                      <a:pt x="20582" y="5120"/>
                    </a:cubicBezTo>
                    <a:cubicBezTo>
                      <a:pt x="20444" y="5227"/>
                      <a:pt x="20120" y="6080"/>
                      <a:pt x="20120" y="6133"/>
                    </a:cubicBezTo>
                    <a:cubicBezTo>
                      <a:pt x="20120" y="6187"/>
                      <a:pt x="20166" y="6293"/>
                      <a:pt x="20120" y="6347"/>
                    </a:cubicBezTo>
                    <a:cubicBezTo>
                      <a:pt x="20166" y="6453"/>
                      <a:pt x="20120" y="6507"/>
                      <a:pt x="20166" y="6613"/>
                    </a:cubicBezTo>
                    <a:cubicBezTo>
                      <a:pt x="20166" y="7360"/>
                      <a:pt x="20166" y="7360"/>
                      <a:pt x="20166" y="7360"/>
                    </a:cubicBezTo>
                    <a:cubicBezTo>
                      <a:pt x="20259" y="7573"/>
                      <a:pt x="20212" y="7733"/>
                      <a:pt x="20305" y="7947"/>
                    </a:cubicBezTo>
                    <a:cubicBezTo>
                      <a:pt x="20351" y="8160"/>
                      <a:pt x="20767" y="7947"/>
                      <a:pt x="20767" y="8320"/>
                    </a:cubicBezTo>
                    <a:cubicBezTo>
                      <a:pt x="20767" y="8800"/>
                      <a:pt x="20305" y="8747"/>
                      <a:pt x="20305" y="9120"/>
                    </a:cubicBezTo>
                    <a:cubicBezTo>
                      <a:pt x="20305" y="9440"/>
                      <a:pt x="20490" y="9440"/>
                      <a:pt x="20582" y="9547"/>
                    </a:cubicBezTo>
                    <a:cubicBezTo>
                      <a:pt x="20906" y="10347"/>
                      <a:pt x="21600" y="10453"/>
                      <a:pt x="21600" y="11467"/>
                    </a:cubicBezTo>
                    <a:cubicBezTo>
                      <a:pt x="21091" y="11627"/>
                      <a:pt x="20721" y="11733"/>
                      <a:pt x="20721" y="12373"/>
                    </a:cubicBezTo>
                    <a:cubicBezTo>
                      <a:pt x="20721" y="12533"/>
                      <a:pt x="20814" y="12693"/>
                      <a:pt x="20814" y="12800"/>
                    </a:cubicBezTo>
                    <a:cubicBezTo>
                      <a:pt x="20814" y="12800"/>
                      <a:pt x="20721" y="12800"/>
                      <a:pt x="20721" y="12800"/>
                    </a:cubicBezTo>
                    <a:cubicBezTo>
                      <a:pt x="20305" y="12800"/>
                      <a:pt x="19426" y="12533"/>
                      <a:pt x="18871" y="12533"/>
                    </a:cubicBezTo>
                    <a:cubicBezTo>
                      <a:pt x="18779" y="12533"/>
                      <a:pt x="18177" y="12320"/>
                      <a:pt x="18177" y="12320"/>
                    </a:cubicBezTo>
                    <a:cubicBezTo>
                      <a:pt x="17946" y="12053"/>
                      <a:pt x="17946" y="11360"/>
                      <a:pt x="17530" y="11360"/>
                    </a:cubicBezTo>
                    <a:cubicBezTo>
                      <a:pt x="17299" y="11360"/>
                      <a:pt x="17206" y="11573"/>
                      <a:pt x="17113" y="11733"/>
                    </a:cubicBezTo>
                    <a:cubicBezTo>
                      <a:pt x="16096" y="11733"/>
                      <a:pt x="16096" y="11733"/>
                      <a:pt x="16096" y="11733"/>
                    </a:cubicBezTo>
                    <a:cubicBezTo>
                      <a:pt x="15772" y="11573"/>
                      <a:pt x="15587" y="11307"/>
                      <a:pt x="15402" y="11040"/>
                    </a:cubicBezTo>
                    <a:cubicBezTo>
                      <a:pt x="15125" y="10773"/>
                      <a:pt x="14801" y="10933"/>
                      <a:pt x="14570" y="10667"/>
                    </a:cubicBezTo>
                    <a:cubicBezTo>
                      <a:pt x="14477" y="10507"/>
                      <a:pt x="14523" y="10347"/>
                      <a:pt x="14477" y="10240"/>
                    </a:cubicBezTo>
                    <a:cubicBezTo>
                      <a:pt x="14246" y="9707"/>
                      <a:pt x="13830" y="8960"/>
                      <a:pt x="13228" y="8960"/>
                    </a:cubicBezTo>
                    <a:cubicBezTo>
                      <a:pt x="12951" y="8960"/>
                      <a:pt x="12858" y="9387"/>
                      <a:pt x="12858" y="9760"/>
                    </a:cubicBezTo>
                    <a:cubicBezTo>
                      <a:pt x="12858" y="9973"/>
                      <a:pt x="12858" y="10080"/>
                      <a:pt x="12858" y="10293"/>
                    </a:cubicBezTo>
                    <a:cubicBezTo>
                      <a:pt x="12997" y="10827"/>
                      <a:pt x="13552" y="11840"/>
                      <a:pt x="14061" y="11947"/>
                    </a:cubicBezTo>
                    <a:cubicBezTo>
                      <a:pt x="14061" y="12213"/>
                      <a:pt x="14153" y="12320"/>
                      <a:pt x="14200" y="12533"/>
                    </a:cubicBezTo>
                    <a:cubicBezTo>
                      <a:pt x="14431" y="12427"/>
                      <a:pt x="14385" y="12160"/>
                      <a:pt x="14570" y="12107"/>
                    </a:cubicBezTo>
                    <a:cubicBezTo>
                      <a:pt x="14616" y="12160"/>
                      <a:pt x="14616" y="12267"/>
                      <a:pt x="14616" y="12320"/>
                    </a:cubicBezTo>
                    <a:cubicBezTo>
                      <a:pt x="14616" y="12640"/>
                      <a:pt x="14477" y="12800"/>
                      <a:pt x="14477" y="13120"/>
                    </a:cubicBezTo>
                    <a:cubicBezTo>
                      <a:pt x="14477" y="13440"/>
                      <a:pt x="14986" y="13600"/>
                      <a:pt x="15310" y="13600"/>
                    </a:cubicBezTo>
                    <a:cubicBezTo>
                      <a:pt x="16651" y="13600"/>
                      <a:pt x="16790" y="12640"/>
                      <a:pt x="17530" y="12000"/>
                    </a:cubicBezTo>
                    <a:cubicBezTo>
                      <a:pt x="17530" y="12853"/>
                      <a:pt x="17530" y="12853"/>
                      <a:pt x="17530" y="12853"/>
                    </a:cubicBezTo>
                    <a:cubicBezTo>
                      <a:pt x="17807" y="13547"/>
                      <a:pt x="18177" y="13653"/>
                      <a:pt x="18779" y="13867"/>
                    </a:cubicBezTo>
                    <a:cubicBezTo>
                      <a:pt x="19010" y="13920"/>
                      <a:pt x="19010" y="14347"/>
                      <a:pt x="19149" y="14453"/>
                    </a:cubicBezTo>
                    <a:cubicBezTo>
                      <a:pt x="19149" y="14400"/>
                      <a:pt x="19149" y="14400"/>
                      <a:pt x="19149" y="14400"/>
                    </a:cubicBezTo>
                    <a:cubicBezTo>
                      <a:pt x="19241" y="14613"/>
                      <a:pt x="19565" y="14560"/>
                      <a:pt x="19565" y="14773"/>
                    </a:cubicBezTo>
                    <a:cubicBezTo>
                      <a:pt x="19565" y="15360"/>
                      <a:pt x="18964" y="15520"/>
                      <a:pt x="18964" y="16107"/>
                    </a:cubicBezTo>
                    <a:cubicBezTo>
                      <a:pt x="18640" y="16107"/>
                      <a:pt x="18455" y="16160"/>
                      <a:pt x="18362" y="16480"/>
                    </a:cubicBezTo>
                    <a:cubicBezTo>
                      <a:pt x="18270" y="16747"/>
                      <a:pt x="18316" y="17120"/>
                      <a:pt x="18039" y="17120"/>
                    </a:cubicBezTo>
                    <a:cubicBezTo>
                      <a:pt x="17761" y="17120"/>
                      <a:pt x="17761" y="17813"/>
                      <a:pt x="17484" y="17813"/>
                    </a:cubicBezTo>
                    <a:cubicBezTo>
                      <a:pt x="17299" y="17813"/>
                      <a:pt x="16882" y="18240"/>
                      <a:pt x="16882" y="18507"/>
                    </a:cubicBezTo>
                    <a:cubicBezTo>
                      <a:pt x="16327" y="18613"/>
                      <a:pt x="15125" y="18880"/>
                      <a:pt x="15125" y="19413"/>
                    </a:cubicBezTo>
                    <a:cubicBezTo>
                      <a:pt x="15125" y="19467"/>
                      <a:pt x="15125" y="19573"/>
                      <a:pt x="15171" y="19627"/>
                    </a:cubicBezTo>
                    <a:cubicBezTo>
                      <a:pt x="14708" y="19893"/>
                      <a:pt x="14061" y="20053"/>
                      <a:pt x="13598" y="20160"/>
                    </a:cubicBezTo>
                    <a:cubicBezTo>
                      <a:pt x="13367" y="20267"/>
                      <a:pt x="12534" y="20907"/>
                      <a:pt x="12257" y="21067"/>
                    </a:cubicBezTo>
                    <a:cubicBezTo>
                      <a:pt x="11656" y="21067"/>
                      <a:pt x="11656" y="21067"/>
                      <a:pt x="11656" y="21067"/>
                    </a:cubicBezTo>
                    <a:cubicBezTo>
                      <a:pt x="11286" y="21333"/>
                      <a:pt x="11239" y="21547"/>
                      <a:pt x="10823" y="21547"/>
                    </a:cubicBezTo>
                    <a:cubicBezTo>
                      <a:pt x="10684" y="21600"/>
                      <a:pt x="10684" y="21600"/>
                      <a:pt x="10684" y="21600"/>
                    </a:cubicBezTo>
                    <a:cubicBezTo>
                      <a:pt x="10592" y="21600"/>
                      <a:pt x="10083" y="21333"/>
                      <a:pt x="10037" y="21280"/>
                    </a:cubicBezTo>
                    <a:cubicBezTo>
                      <a:pt x="9991" y="21280"/>
                      <a:pt x="10129" y="21280"/>
                      <a:pt x="10037" y="21013"/>
                    </a:cubicBezTo>
                    <a:cubicBezTo>
                      <a:pt x="9806" y="20640"/>
                      <a:pt x="9667" y="20267"/>
                      <a:pt x="9667" y="19840"/>
                    </a:cubicBezTo>
                    <a:cubicBezTo>
                      <a:pt x="9436" y="19787"/>
                      <a:pt x="9574" y="19360"/>
                      <a:pt x="9621" y="19147"/>
                    </a:cubicBezTo>
                    <a:cubicBezTo>
                      <a:pt x="9713" y="18613"/>
                      <a:pt x="9389" y="18400"/>
                      <a:pt x="9158" y="18133"/>
                    </a:cubicBezTo>
                    <a:cubicBezTo>
                      <a:pt x="8927" y="17867"/>
                      <a:pt x="8372" y="17067"/>
                      <a:pt x="8372" y="16480"/>
                    </a:cubicBezTo>
                    <a:cubicBezTo>
                      <a:pt x="7632" y="16320"/>
                      <a:pt x="7493" y="15840"/>
                      <a:pt x="7493" y="14933"/>
                    </a:cubicBezTo>
                    <a:cubicBezTo>
                      <a:pt x="7493" y="14400"/>
                      <a:pt x="7215" y="14293"/>
                      <a:pt x="7123" y="13813"/>
                    </a:cubicBezTo>
                    <a:cubicBezTo>
                      <a:pt x="7123" y="13813"/>
                      <a:pt x="7123" y="13813"/>
                      <a:pt x="7123" y="13813"/>
                    </a:cubicBezTo>
                    <a:cubicBezTo>
                      <a:pt x="7030" y="13760"/>
                      <a:pt x="6938" y="13600"/>
                      <a:pt x="6845" y="13547"/>
                    </a:cubicBezTo>
                    <a:cubicBezTo>
                      <a:pt x="6799" y="13440"/>
                      <a:pt x="6522" y="13493"/>
                      <a:pt x="6475" y="13387"/>
                    </a:cubicBezTo>
                    <a:cubicBezTo>
                      <a:pt x="6337" y="13280"/>
                      <a:pt x="6383" y="12907"/>
                      <a:pt x="6337" y="12747"/>
                    </a:cubicBezTo>
                    <a:cubicBezTo>
                      <a:pt x="6290" y="12533"/>
                      <a:pt x="6105" y="12320"/>
                      <a:pt x="6059" y="12213"/>
                    </a:cubicBezTo>
                    <a:cubicBezTo>
                      <a:pt x="5782" y="11787"/>
                      <a:pt x="5597" y="11413"/>
                      <a:pt x="5365" y="11040"/>
                    </a:cubicBezTo>
                    <a:cubicBezTo>
                      <a:pt x="5319" y="10933"/>
                      <a:pt x="5042" y="10560"/>
                      <a:pt x="5042" y="10453"/>
                    </a:cubicBezTo>
                    <a:cubicBezTo>
                      <a:pt x="5042" y="10240"/>
                      <a:pt x="5180" y="9707"/>
                      <a:pt x="5180" y="9333"/>
                    </a:cubicBezTo>
                    <a:lnTo>
                      <a:pt x="5180" y="9440"/>
                    </a:ln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/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77" name="iṣḷiḋe"/>
              <p:cNvSpPr/>
              <p:nvPr/>
            </p:nvSpPr>
            <p:spPr>
              <a:xfrm>
                <a:off x="1768576" y="2825633"/>
                <a:ext cx="58955" cy="10703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13500"/>
                    </a:moveTo>
                    <a:cubicBezTo>
                      <a:pt x="21600" y="16650"/>
                      <a:pt x="17280" y="21600"/>
                      <a:pt x="9504" y="21600"/>
                    </a:cubicBezTo>
                    <a:cubicBezTo>
                      <a:pt x="4320" y="21600"/>
                      <a:pt x="0" y="18450"/>
                      <a:pt x="0" y="15750"/>
                    </a:cubicBezTo>
                    <a:cubicBezTo>
                      <a:pt x="0" y="9900"/>
                      <a:pt x="5184" y="5850"/>
                      <a:pt x="5184" y="0"/>
                    </a:cubicBezTo>
                    <a:cubicBezTo>
                      <a:pt x="11232" y="4500"/>
                      <a:pt x="21600" y="6750"/>
                      <a:pt x="21600" y="1350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78" name="ï$ľidê"/>
              <p:cNvSpPr/>
              <p:nvPr/>
            </p:nvSpPr>
            <p:spPr>
              <a:xfrm>
                <a:off x="1209930" y="1950651"/>
                <a:ext cx="1198704" cy="91779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323" y="13961"/>
                    </a:moveTo>
                    <a:cubicBezTo>
                      <a:pt x="6238" y="13856"/>
                      <a:pt x="6238" y="13856"/>
                      <a:pt x="6238" y="13856"/>
                    </a:cubicBezTo>
                    <a:cubicBezTo>
                      <a:pt x="6238" y="13961"/>
                      <a:pt x="6281" y="14119"/>
                      <a:pt x="6281" y="14224"/>
                    </a:cubicBezTo>
                    <a:cubicBezTo>
                      <a:pt x="6281" y="14646"/>
                      <a:pt x="6493" y="15067"/>
                      <a:pt x="6578" y="15541"/>
                    </a:cubicBezTo>
                    <a:cubicBezTo>
                      <a:pt x="6705" y="16068"/>
                      <a:pt x="7044" y="16806"/>
                      <a:pt x="7129" y="17175"/>
                    </a:cubicBezTo>
                    <a:cubicBezTo>
                      <a:pt x="7214" y="17491"/>
                      <a:pt x="7214" y="17596"/>
                      <a:pt x="7384" y="17912"/>
                    </a:cubicBezTo>
                    <a:cubicBezTo>
                      <a:pt x="7511" y="18176"/>
                      <a:pt x="7426" y="18492"/>
                      <a:pt x="7596" y="18860"/>
                    </a:cubicBezTo>
                    <a:cubicBezTo>
                      <a:pt x="7639" y="19071"/>
                      <a:pt x="7936" y="19282"/>
                      <a:pt x="7978" y="19598"/>
                    </a:cubicBezTo>
                    <a:cubicBezTo>
                      <a:pt x="8105" y="20125"/>
                      <a:pt x="8317" y="20546"/>
                      <a:pt x="8487" y="21126"/>
                    </a:cubicBezTo>
                    <a:cubicBezTo>
                      <a:pt x="8487" y="21179"/>
                      <a:pt x="8572" y="21337"/>
                      <a:pt x="8657" y="21337"/>
                    </a:cubicBezTo>
                    <a:cubicBezTo>
                      <a:pt x="8657" y="21547"/>
                      <a:pt x="8784" y="21600"/>
                      <a:pt x="8912" y="21600"/>
                    </a:cubicBezTo>
                    <a:cubicBezTo>
                      <a:pt x="9081" y="21600"/>
                      <a:pt x="9081" y="21337"/>
                      <a:pt x="9166" y="21126"/>
                    </a:cubicBezTo>
                    <a:cubicBezTo>
                      <a:pt x="9251" y="20915"/>
                      <a:pt x="9294" y="20968"/>
                      <a:pt x="9506" y="20862"/>
                    </a:cubicBezTo>
                    <a:cubicBezTo>
                      <a:pt x="9675" y="20757"/>
                      <a:pt x="9633" y="20125"/>
                      <a:pt x="9888" y="20072"/>
                    </a:cubicBezTo>
                    <a:cubicBezTo>
                      <a:pt x="9930" y="20020"/>
                      <a:pt x="10057" y="20020"/>
                      <a:pt x="10057" y="19967"/>
                    </a:cubicBezTo>
                    <a:cubicBezTo>
                      <a:pt x="10185" y="19967"/>
                      <a:pt x="10185" y="19967"/>
                      <a:pt x="10185" y="19967"/>
                    </a:cubicBezTo>
                    <a:cubicBezTo>
                      <a:pt x="10057" y="19335"/>
                      <a:pt x="10057" y="19335"/>
                      <a:pt x="10057" y="19335"/>
                    </a:cubicBezTo>
                    <a:cubicBezTo>
                      <a:pt x="10057" y="18913"/>
                      <a:pt x="10312" y="18544"/>
                      <a:pt x="10312" y="17965"/>
                    </a:cubicBezTo>
                    <a:cubicBezTo>
                      <a:pt x="10312" y="17596"/>
                      <a:pt x="10185" y="17333"/>
                      <a:pt x="10185" y="16911"/>
                    </a:cubicBezTo>
                    <a:cubicBezTo>
                      <a:pt x="10185" y="16437"/>
                      <a:pt x="10567" y="16384"/>
                      <a:pt x="10906" y="16226"/>
                    </a:cubicBezTo>
                    <a:cubicBezTo>
                      <a:pt x="11033" y="16174"/>
                      <a:pt x="11246" y="15910"/>
                      <a:pt x="11373" y="15700"/>
                    </a:cubicBezTo>
                    <a:cubicBezTo>
                      <a:pt x="11755" y="15278"/>
                      <a:pt x="12052" y="14804"/>
                      <a:pt x="12434" y="14330"/>
                    </a:cubicBezTo>
                    <a:cubicBezTo>
                      <a:pt x="12731" y="13961"/>
                      <a:pt x="13283" y="13856"/>
                      <a:pt x="13622" y="13434"/>
                    </a:cubicBezTo>
                    <a:cubicBezTo>
                      <a:pt x="13792" y="13223"/>
                      <a:pt x="13792" y="12960"/>
                      <a:pt x="13834" y="12644"/>
                    </a:cubicBezTo>
                    <a:cubicBezTo>
                      <a:pt x="13919" y="12433"/>
                      <a:pt x="14301" y="12433"/>
                      <a:pt x="14428" y="12064"/>
                    </a:cubicBezTo>
                    <a:cubicBezTo>
                      <a:pt x="14598" y="12170"/>
                      <a:pt x="14598" y="12275"/>
                      <a:pt x="14895" y="12275"/>
                    </a:cubicBezTo>
                    <a:cubicBezTo>
                      <a:pt x="15362" y="12275"/>
                      <a:pt x="15871" y="12170"/>
                      <a:pt x="15871" y="11485"/>
                    </a:cubicBezTo>
                    <a:cubicBezTo>
                      <a:pt x="16168" y="11538"/>
                      <a:pt x="16508" y="11696"/>
                      <a:pt x="16550" y="12012"/>
                    </a:cubicBezTo>
                    <a:cubicBezTo>
                      <a:pt x="16635" y="12275"/>
                      <a:pt x="16593" y="12644"/>
                      <a:pt x="16762" y="12907"/>
                    </a:cubicBezTo>
                    <a:cubicBezTo>
                      <a:pt x="16890" y="13223"/>
                      <a:pt x="17102" y="13434"/>
                      <a:pt x="17356" y="13645"/>
                    </a:cubicBezTo>
                    <a:cubicBezTo>
                      <a:pt x="17569" y="14066"/>
                      <a:pt x="17781" y="14435"/>
                      <a:pt x="17908" y="14909"/>
                    </a:cubicBezTo>
                    <a:cubicBezTo>
                      <a:pt x="17950" y="15015"/>
                      <a:pt x="18035" y="15067"/>
                      <a:pt x="18035" y="15225"/>
                    </a:cubicBezTo>
                    <a:cubicBezTo>
                      <a:pt x="18035" y="15436"/>
                      <a:pt x="17950" y="15594"/>
                      <a:pt x="17950" y="15910"/>
                    </a:cubicBezTo>
                    <a:cubicBezTo>
                      <a:pt x="17950" y="16174"/>
                      <a:pt x="17950" y="16490"/>
                      <a:pt x="18248" y="16490"/>
                    </a:cubicBezTo>
                    <a:cubicBezTo>
                      <a:pt x="18757" y="16490"/>
                      <a:pt x="18884" y="15805"/>
                      <a:pt x="19224" y="15436"/>
                    </a:cubicBezTo>
                    <a:cubicBezTo>
                      <a:pt x="19308" y="15541"/>
                      <a:pt x="19266" y="15647"/>
                      <a:pt x="19393" y="15805"/>
                    </a:cubicBezTo>
                    <a:cubicBezTo>
                      <a:pt x="19393" y="15805"/>
                      <a:pt x="19563" y="15805"/>
                      <a:pt x="19606" y="15910"/>
                    </a:cubicBezTo>
                    <a:cubicBezTo>
                      <a:pt x="19818" y="16226"/>
                      <a:pt x="19478" y="16964"/>
                      <a:pt x="19733" y="16964"/>
                    </a:cubicBezTo>
                    <a:cubicBezTo>
                      <a:pt x="19733" y="17701"/>
                      <a:pt x="20200" y="18281"/>
                      <a:pt x="20200" y="19335"/>
                    </a:cubicBezTo>
                    <a:cubicBezTo>
                      <a:pt x="20200" y="19545"/>
                      <a:pt x="20072" y="20125"/>
                      <a:pt x="20200" y="20178"/>
                    </a:cubicBezTo>
                    <a:cubicBezTo>
                      <a:pt x="20369" y="19809"/>
                      <a:pt x="20412" y="19545"/>
                      <a:pt x="20582" y="19124"/>
                    </a:cubicBezTo>
                    <a:cubicBezTo>
                      <a:pt x="20624" y="19019"/>
                      <a:pt x="20751" y="18966"/>
                      <a:pt x="20751" y="18860"/>
                    </a:cubicBezTo>
                    <a:cubicBezTo>
                      <a:pt x="20751" y="18650"/>
                      <a:pt x="20497" y="17596"/>
                      <a:pt x="20327" y="17385"/>
                    </a:cubicBezTo>
                    <a:cubicBezTo>
                      <a:pt x="20200" y="17227"/>
                      <a:pt x="20030" y="17122"/>
                      <a:pt x="20030" y="16859"/>
                    </a:cubicBezTo>
                    <a:cubicBezTo>
                      <a:pt x="20030" y="16806"/>
                      <a:pt x="20030" y="16753"/>
                      <a:pt x="20030" y="16648"/>
                    </a:cubicBezTo>
                    <a:cubicBezTo>
                      <a:pt x="20030" y="16700"/>
                      <a:pt x="20030" y="16700"/>
                      <a:pt x="20030" y="16700"/>
                    </a:cubicBezTo>
                    <a:cubicBezTo>
                      <a:pt x="20072" y="16648"/>
                      <a:pt x="20200" y="16384"/>
                      <a:pt x="20200" y="16174"/>
                    </a:cubicBezTo>
                    <a:cubicBezTo>
                      <a:pt x="20200" y="15910"/>
                      <a:pt x="20200" y="15436"/>
                      <a:pt x="20072" y="15173"/>
                    </a:cubicBezTo>
                    <a:cubicBezTo>
                      <a:pt x="19945" y="14962"/>
                      <a:pt x="19690" y="14962"/>
                      <a:pt x="19690" y="14540"/>
                    </a:cubicBezTo>
                    <a:cubicBezTo>
                      <a:pt x="19690" y="14119"/>
                      <a:pt x="19818" y="13803"/>
                      <a:pt x="20030" y="13592"/>
                    </a:cubicBezTo>
                    <a:cubicBezTo>
                      <a:pt x="20115" y="13434"/>
                      <a:pt x="20327" y="13487"/>
                      <a:pt x="20497" y="13381"/>
                    </a:cubicBezTo>
                    <a:cubicBezTo>
                      <a:pt x="20921" y="13013"/>
                      <a:pt x="21218" y="12855"/>
                      <a:pt x="21600" y="12117"/>
                    </a:cubicBezTo>
                    <a:cubicBezTo>
                      <a:pt x="21473" y="12117"/>
                      <a:pt x="21430" y="12170"/>
                      <a:pt x="21261" y="12170"/>
                    </a:cubicBezTo>
                    <a:cubicBezTo>
                      <a:pt x="20921" y="12170"/>
                      <a:pt x="20666" y="11696"/>
                      <a:pt x="20666" y="11221"/>
                    </a:cubicBezTo>
                    <a:cubicBezTo>
                      <a:pt x="20497" y="11169"/>
                      <a:pt x="20454" y="10484"/>
                      <a:pt x="20284" y="10484"/>
                    </a:cubicBezTo>
                    <a:cubicBezTo>
                      <a:pt x="20157" y="10484"/>
                      <a:pt x="20030" y="10642"/>
                      <a:pt x="19903" y="10642"/>
                    </a:cubicBezTo>
                    <a:cubicBezTo>
                      <a:pt x="19860" y="10642"/>
                      <a:pt x="19818" y="10484"/>
                      <a:pt x="19818" y="10379"/>
                    </a:cubicBezTo>
                    <a:cubicBezTo>
                      <a:pt x="19818" y="9536"/>
                      <a:pt x="20327" y="9483"/>
                      <a:pt x="20327" y="8587"/>
                    </a:cubicBezTo>
                    <a:cubicBezTo>
                      <a:pt x="20327" y="8113"/>
                      <a:pt x="20030" y="7955"/>
                      <a:pt x="19860" y="7586"/>
                    </a:cubicBezTo>
                    <a:cubicBezTo>
                      <a:pt x="19393" y="7323"/>
                      <a:pt x="19011" y="7376"/>
                      <a:pt x="18884" y="6585"/>
                    </a:cubicBezTo>
                    <a:cubicBezTo>
                      <a:pt x="18757" y="6585"/>
                      <a:pt x="18757" y="6585"/>
                      <a:pt x="18757" y="6585"/>
                    </a:cubicBezTo>
                    <a:cubicBezTo>
                      <a:pt x="18587" y="6796"/>
                      <a:pt x="18587" y="6796"/>
                      <a:pt x="18587" y="6796"/>
                    </a:cubicBezTo>
                    <a:cubicBezTo>
                      <a:pt x="18375" y="6901"/>
                      <a:pt x="18120" y="6638"/>
                      <a:pt x="17950" y="6849"/>
                    </a:cubicBezTo>
                    <a:cubicBezTo>
                      <a:pt x="17908" y="6954"/>
                      <a:pt x="17866" y="7007"/>
                      <a:pt x="17738" y="7112"/>
                    </a:cubicBezTo>
                    <a:cubicBezTo>
                      <a:pt x="17611" y="7218"/>
                      <a:pt x="17017" y="7850"/>
                      <a:pt x="16720" y="7850"/>
                    </a:cubicBezTo>
                    <a:cubicBezTo>
                      <a:pt x="16423" y="7850"/>
                      <a:pt x="16211" y="7586"/>
                      <a:pt x="15829" y="7586"/>
                    </a:cubicBezTo>
                    <a:cubicBezTo>
                      <a:pt x="15362" y="7586"/>
                      <a:pt x="15277" y="8008"/>
                      <a:pt x="15022" y="8166"/>
                    </a:cubicBezTo>
                    <a:cubicBezTo>
                      <a:pt x="14980" y="8008"/>
                      <a:pt x="14938" y="7639"/>
                      <a:pt x="14810" y="7639"/>
                    </a:cubicBezTo>
                    <a:cubicBezTo>
                      <a:pt x="14725" y="7639"/>
                      <a:pt x="14640" y="7744"/>
                      <a:pt x="14471" y="7744"/>
                    </a:cubicBezTo>
                    <a:cubicBezTo>
                      <a:pt x="14216" y="7744"/>
                      <a:pt x="13961" y="7744"/>
                      <a:pt x="13707" y="7744"/>
                    </a:cubicBezTo>
                    <a:cubicBezTo>
                      <a:pt x="13283" y="7744"/>
                      <a:pt x="13113" y="7428"/>
                      <a:pt x="12816" y="7165"/>
                    </a:cubicBezTo>
                    <a:cubicBezTo>
                      <a:pt x="12731" y="7112"/>
                      <a:pt x="12561" y="7323"/>
                      <a:pt x="12519" y="7165"/>
                    </a:cubicBezTo>
                    <a:cubicBezTo>
                      <a:pt x="12434" y="6954"/>
                      <a:pt x="12434" y="6796"/>
                      <a:pt x="12306" y="6691"/>
                    </a:cubicBezTo>
                    <a:cubicBezTo>
                      <a:pt x="12009" y="6533"/>
                      <a:pt x="11840" y="6638"/>
                      <a:pt x="11585" y="6322"/>
                    </a:cubicBezTo>
                    <a:cubicBezTo>
                      <a:pt x="11373" y="6059"/>
                      <a:pt x="11161" y="6217"/>
                      <a:pt x="10779" y="6111"/>
                    </a:cubicBezTo>
                    <a:cubicBezTo>
                      <a:pt x="10439" y="6006"/>
                      <a:pt x="10312" y="5690"/>
                      <a:pt x="10015" y="5584"/>
                    </a:cubicBezTo>
                    <a:cubicBezTo>
                      <a:pt x="9930" y="5532"/>
                      <a:pt x="9718" y="5584"/>
                      <a:pt x="9675" y="5426"/>
                    </a:cubicBezTo>
                    <a:cubicBezTo>
                      <a:pt x="9633" y="5163"/>
                      <a:pt x="9633" y="4952"/>
                      <a:pt x="9591" y="4689"/>
                    </a:cubicBezTo>
                    <a:cubicBezTo>
                      <a:pt x="9591" y="4478"/>
                      <a:pt x="9591" y="4478"/>
                      <a:pt x="9591" y="4478"/>
                    </a:cubicBezTo>
                    <a:cubicBezTo>
                      <a:pt x="9803" y="4478"/>
                      <a:pt x="10015" y="4531"/>
                      <a:pt x="10015" y="4215"/>
                    </a:cubicBezTo>
                    <a:cubicBezTo>
                      <a:pt x="10015" y="3951"/>
                      <a:pt x="9718" y="3899"/>
                      <a:pt x="9718" y="3635"/>
                    </a:cubicBezTo>
                    <a:cubicBezTo>
                      <a:pt x="9718" y="3003"/>
                      <a:pt x="10439" y="3108"/>
                      <a:pt x="10439" y="2476"/>
                    </a:cubicBezTo>
                    <a:cubicBezTo>
                      <a:pt x="10439" y="2265"/>
                      <a:pt x="10015" y="1844"/>
                      <a:pt x="9845" y="1844"/>
                    </a:cubicBezTo>
                    <a:cubicBezTo>
                      <a:pt x="9506" y="1844"/>
                      <a:pt x="9378" y="2213"/>
                      <a:pt x="9039" y="2265"/>
                    </a:cubicBezTo>
                    <a:cubicBezTo>
                      <a:pt x="8699" y="2107"/>
                      <a:pt x="8487" y="2107"/>
                      <a:pt x="8233" y="1791"/>
                    </a:cubicBezTo>
                    <a:cubicBezTo>
                      <a:pt x="8105" y="1633"/>
                      <a:pt x="8190" y="1317"/>
                      <a:pt x="7978" y="1264"/>
                    </a:cubicBezTo>
                    <a:cubicBezTo>
                      <a:pt x="7723" y="1159"/>
                      <a:pt x="7554" y="1264"/>
                      <a:pt x="7554" y="843"/>
                    </a:cubicBezTo>
                    <a:cubicBezTo>
                      <a:pt x="7299" y="790"/>
                      <a:pt x="7129" y="790"/>
                      <a:pt x="6917" y="790"/>
                    </a:cubicBezTo>
                    <a:cubicBezTo>
                      <a:pt x="6535" y="790"/>
                      <a:pt x="6365" y="1212"/>
                      <a:pt x="5941" y="1212"/>
                    </a:cubicBezTo>
                    <a:cubicBezTo>
                      <a:pt x="5517" y="1212"/>
                      <a:pt x="5941" y="0"/>
                      <a:pt x="5559" y="0"/>
                    </a:cubicBezTo>
                    <a:cubicBezTo>
                      <a:pt x="5177" y="0"/>
                      <a:pt x="5092" y="527"/>
                      <a:pt x="4923" y="527"/>
                    </a:cubicBezTo>
                    <a:cubicBezTo>
                      <a:pt x="4880" y="527"/>
                      <a:pt x="4838" y="580"/>
                      <a:pt x="4795" y="527"/>
                    </a:cubicBezTo>
                    <a:cubicBezTo>
                      <a:pt x="4668" y="843"/>
                      <a:pt x="4371" y="1106"/>
                      <a:pt x="3989" y="1106"/>
                    </a:cubicBezTo>
                    <a:cubicBezTo>
                      <a:pt x="3862" y="1106"/>
                      <a:pt x="3819" y="843"/>
                      <a:pt x="3650" y="843"/>
                    </a:cubicBezTo>
                    <a:cubicBezTo>
                      <a:pt x="3522" y="843"/>
                      <a:pt x="3098" y="1054"/>
                      <a:pt x="3055" y="790"/>
                    </a:cubicBezTo>
                    <a:cubicBezTo>
                      <a:pt x="2886" y="790"/>
                      <a:pt x="2928" y="685"/>
                      <a:pt x="2758" y="685"/>
                    </a:cubicBezTo>
                    <a:cubicBezTo>
                      <a:pt x="2292" y="685"/>
                      <a:pt x="2249" y="1264"/>
                      <a:pt x="1910" y="1686"/>
                    </a:cubicBezTo>
                    <a:cubicBezTo>
                      <a:pt x="1782" y="1844"/>
                      <a:pt x="1570" y="1844"/>
                      <a:pt x="1400" y="2055"/>
                    </a:cubicBezTo>
                    <a:cubicBezTo>
                      <a:pt x="1273" y="2213"/>
                      <a:pt x="1188" y="2423"/>
                      <a:pt x="976" y="2423"/>
                    </a:cubicBezTo>
                    <a:cubicBezTo>
                      <a:pt x="806" y="2423"/>
                      <a:pt x="679" y="2213"/>
                      <a:pt x="509" y="2213"/>
                    </a:cubicBezTo>
                    <a:cubicBezTo>
                      <a:pt x="467" y="2213"/>
                      <a:pt x="467" y="2371"/>
                      <a:pt x="424" y="2371"/>
                    </a:cubicBezTo>
                    <a:cubicBezTo>
                      <a:pt x="297" y="2476"/>
                      <a:pt x="0" y="3319"/>
                      <a:pt x="0" y="3372"/>
                    </a:cubicBezTo>
                    <a:cubicBezTo>
                      <a:pt x="0" y="3424"/>
                      <a:pt x="42" y="3530"/>
                      <a:pt x="0" y="3582"/>
                    </a:cubicBezTo>
                    <a:cubicBezTo>
                      <a:pt x="42" y="3688"/>
                      <a:pt x="0" y="3740"/>
                      <a:pt x="42" y="3846"/>
                    </a:cubicBezTo>
                    <a:cubicBezTo>
                      <a:pt x="42" y="4583"/>
                      <a:pt x="42" y="4583"/>
                      <a:pt x="42" y="4583"/>
                    </a:cubicBezTo>
                    <a:cubicBezTo>
                      <a:pt x="127" y="4794"/>
                      <a:pt x="85" y="4952"/>
                      <a:pt x="170" y="5163"/>
                    </a:cubicBezTo>
                    <a:cubicBezTo>
                      <a:pt x="212" y="5374"/>
                      <a:pt x="594" y="5163"/>
                      <a:pt x="594" y="5532"/>
                    </a:cubicBezTo>
                    <a:cubicBezTo>
                      <a:pt x="594" y="6006"/>
                      <a:pt x="170" y="5953"/>
                      <a:pt x="170" y="6322"/>
                    </a:cubicBezTo>
                    <a:cubicBezTo>
                      <a:pt x="170" y="6638"/>
                      <a:pt x="339" y="6638"/>
                      <a:pt x="424" y="6743"/>
                    </a:cubicBezTo>
                    <a:cubicBezTo>
                      <a:pt x="721" y="7534"/>
                      <a:pt x="1358" y="7639"/>
                      <a:pt x="1358" y="8640"/>
                    </a:cubicBezTo>
                    <a:cubicBezTo>
                      <a:pt x="891" y="8798"/>
                      <a:pt x="552" y="8903"/>
                      <a:pt x="552" y="9536"/>
                    </a:cubicBezTo>
                    <a:cubicBezTo>
                      <a:pt x="552" y="9694"/>
                      <a:pt x="637" y="9852"/>
                      <a:pt x="637" y="9957"/>
                    </a:cubicBezTo>
                    <a:cubicBezTo>
                      <a:pt x="1273" y="9904"/>
                      <a:pt x="1273" y="9904"/>
                      <a:pt x="1273" y="9904"/>
                    </a:cubicBezTo>
                    <a:cubicBezTo>
                      <a:pt x="1316" y="9852"/>
                      <a:pt x="1400" y="9799"/>
                      <a:pt x="1443" y="9746"/>
                    </a:cubicBezTo>
                    <a:cubicBezTo>
                      <a:pt x="1952" y="9904"/>
                      <a:pt x="1952" y="9904"/>
                      <a:pt x="1952" y="9904"/>
                    </a:cubicBezTo>
                    <a:cubicBezTo>
                      <a:pt x="2122" y="9904"/>
                      <a:pt x="2207" y="9694"/>
                      <a:pt x="2419" y="9694"/>
                    </a:cubicBezTo>
                    <a:cubicBezTo>
                      <a:pt x="2631" y="9694"/>
                      <a:pt x="2758" y="9694"/>
                      <a:pt x="2971" y="9746"/>
                    </a:cubicBezTo>
                    <a:cubicBezTo>
                      <a:pt x="3183" y="9852"/>
                      <a:pt x="3310" y="10379"/>
                      <a:pt x="3480" y="10695"/>
                    </a:cubicBezTo>
                    <a:cubicBezTo>
                      <a:pt x="3650" y="11011"/>
                      <a:pt x="4201" y="11485"/>
                      <a:pt x="4583" y="11485"/>
                    </a:cubicBezTo>
                    <a:cubicBezTo>
                      <a:pt x="4710" y="11485"/>
                      <a:pt x="4838" y="11485"/>
                      <a:pt x="5007" y="11538"/>
                    </a:cubicBezTo>
                    <a:cubicBezTo>
                      <a:pt x="4923" y="11643"/>
                      <a:pt x="4923" y="11854"/>
                      <a:pt x="4753" y="11854"/>
                    </a:cubicBezTo>
                    <a:cubicBezTo>
                      <a:pt x="4583" y="11959"/>
                      <a:pt x="4456" y="11854"/>
                      <a:pt x="4286" y="11959"/>
                    </a:cubicBezTo>
                    <a:cubicBezTo>
                      <a:pt x="4583" y="12328"/>
                      <a:pt x="4795" y="13065"/>
                      <a:pt x="5389" y="13065"/>
                    </a:cubicBezTo>
                    <a:cubicBezTo>
                      <a:pt x="5856" y="13065"/>
                      <a:pt x="5899" y="12275"/>
                      <a:pt x="6111" y="11959"/>
                    </a:cubicBezTo>
                    <a:cubicBezTo>
                      <a:pt x="6281" y="11959"/>
                      <a:pt x="6281" y="11959"/>
                      <a:pt x="6281" y="11959"/>
                    </a:cubicBezTo>
                    <a:cubicBezTo>
                      <a:pt x="6281" y="12064"/>
                      <a:pt x="6153" y="12222"/>
                      <a:pt x="6153" y="12275"/>
                    </a:cubicBezTo>
                    <a:cubicBezTo>
                      <a:pt x="6153" y="12591"/>
                      <a:pt x="6365" y="12855"/>
                      <a:pt x="6365" y="13223"/>
                    </a:cubicBezTo>
                    <a:cubicBezTo>
                      <a:pt x="6365" y="13540"/>
                      <a:pt x="6238" y="13592"/>
                      <a:pt x="6238" y="13908"/>
                    </a:cubicBezTo>
                    <a:lnTo>
                      <a:pt x="6323" y="13961"/>
                    </a:ln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/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79" name="íṣ1îďe"/>
              <p:cNvSpPr/>
              <p:nvPr/>
            </p:nvSpPr>
            <p:spPr>
              <a:xfrm>
                <a:off x="2231774" y="2938016"/>
                <a:ext cx="314415" cy="32377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9582" y="11100"/>
                    </a:moveTo>
                    <a:cubicBezTo>
                      <a:pt x="9420" y="11100"/>
                      <a:pt x="9582" y="10800"/>
                      <a:pt x="9420" y="10500"/>
                    </a:cubicBezTo>
                    <a:cubicBezTo>
                      <a:pt x="9257" y="10350"/>
                      <a:pt x="8445" y="10350"/>
                      <a:pt x="8283" y="10200"/>
                    </a:cubicBezTo>
                    <a:cubicBezTo>
                      <a:pt x="7958" y="10050"/>
                      <a:pt x="7308" y="8400"/>
                      <a:pt x="7308" y="7950"/>
                    </a:cubicBezTo>
                    <a:cubicBezTo>
                      <a:pt x="6659" y="6450"/>
                      <a:pt x="5035" y="6600"/>
                      <a:pt x="4547" y="5700"/>
                    </a:cubicBezTo>
                    <a:cubicBezTo>
                      <a:pt x="4223" y="4950"/>
                      <a:pt x="3898" y="4500"/>
                      <a:pt x="3573" y="3750"/>
                    </a:cubicBezTo>
                    <a:cubicBezTo>
                      <a:pt x="3248" y="3150"/>
                      <a:pt x="2436" y="3300"/>
                      <a:pt x="1786" y="3150"/>
                    </a:cubicBezTo>
                    <a:cubicBezTo>
                      <a:pt x="1299" y="3000"/>
                      <a:pt x="162" y="1200"/>
                      <a:pt x="0" y="45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62" y="0"/>
                      <a:pt x="325" y="0"/>
                    </a:cubicBezTo>
                    <a:cubicBezTo>
                      <a:pt x="1137" y="0"/>
                      <a:pt x="1299" y="300"/>
                      <a:pt x="1786" y="600"/>
                    </a:cubicBezTo>
                    <a:cubicBezTo>
                      <a:pt x="4223" y="600"/>
                      <a:pt x="4223" y="600"/>
                      <a:pt x="4223" y="600"/>
                    </a:cubicBezTo>
                    <a:cubicBezTo>
                      <a:pt x="5684" y="1050"/>
                      <a:pt x="6171" y="1950"/>
                      <a:pt x="6821" y="3000"/>
                    </a:cubicBezTo>
                    <a:cubicBezTo>
                      <a:pt x="6983" y="3450"/>
                      <a:pt x="7308" y="3300"/>
                      <a:pt x="7633" y="3450"/>
                    </a:cubicBezTo>
                    <a:cubicBezTo>
                      <a:pt x="8608" y="3750"/>
                      <a:pt x="9095" y="4500"/>
                      <a:pt x="9907" y="5250"/>
                    </a:cubicBezTo>
                    <a:cubicBezTo>
                      <a:pt x="11206" y="6450"/>
                      <a:pt x="12018" y="7350"/>
                      <a:pt x="13967" y="7950"/>
                    </a:cubicBezTo>
                    <a:cubicBezTo>
                      <a:pt x="15104" y="8250"/>
                      <a:pt x="16403" y="8550"/>
                      <a:pt x="16403" y="9600"/>
                    </a:cubicBezTo>
                    <a:cubicBezTo>
                      <a:pt x="16403" y="9600"/>
                      <a:pt x="16241" y="9750"/>
                      <a:pt x="16241" y="9900"/>
                    </a:cubicBezTo>
                    <a:cubicBezTo>
                      <a:pt x="16403" y="9900"/>
                      <a:pt x="16565" y="9900"/>
                      <a:pt x="16728" y="9900"/>
                    </a:cubicBezTo>
                    <a:cubicBezTo>
                      <a:pt x="17053" y="9900"/>
                      <a:pt x="17215" y="10200"/>
                      <a:pt x="17377" y="10500"/>
                    </a:cubicBezTo>
                    <a:cubicBezTo>
                      <a:pt x="17053" y="11100"/>
                      <a:pt x="17053" y="11100"/>
                      <a:pt x="17053" y="11100"/>
                    </a:cubicBezTo>
                    <a:cubicBezTo>
                      <a:pt x="17053" y="12000"/>
                      <a:pt x="17702" y="12150"/>
                      <a:pt x="18514" y="12150"/>
                    </a:cubicBezTo>
                    <a:cubicBezTo>
                      <a:pt x="18514" y="13650"/>
                      <a:pt x="19326" y="13950"/>
                      <a:pt x="20138" y="14700"/>
                    </a:cubicBezTo>
                    <a:cubicBezTo>
                      <a:pt x="20626" y="15150"/>
                      <a:pt x="21600" y="15300"/>
                      <a:pt x="21600" y="15900"/>
                    </a:cubicBezTo>
                    <a:cubicBezTo>
                      <a:pt x="21600" y="16800"/>
                      <a:pt x="21600" y="17400"/>
                      <a:pt x="21600" y="18750"/>
                    </a:cubicBezTo>
                    <a:cubicBezTo>
                      <a:pt x="20788" y="19050"/>
                      <a:pt x="21275" y="19950"/>
                      <a:pt x="21275" y="20700"/>
                    </a:cubicBezTo>
                    <a:cubicBezTo>
                      <a:pt x="21275" y="21450"/>
                      <a:pt x="19814" y="21600"/>
                      <a:pt x="19326" y="21600"/>
                    </a:cubicBezTo>
                    <a:cubicBezTo>
                      <a:pt x="18839" y="21600"/>
                      <a:pt x="17702" y="19800"/>
                      <a:pt x="17540" y="19800"/>
                    </a:cubicBezTo>
                    <a:cubicBezTo>
                      <a:pt x="16241" y="18600"/>
                      <a:pt x="14941" y="18000"/>
                      <a:pt x="13642" y="16800"/>
                    </a:cubicBezTo>
                    <a:cubicBezTo>
                      <a:pt x="12180" y="15450"/>
                      <a:pt x="11531" y="14250"/>
                      <a:pt x="10881" y="12750"/>
                    </a:cubicBezTo>
                    <a:cubicBezTo>
                      <a:pt x="10719" y="12450"/>
                      <a:pt x="9744" y="11100"/>
                      <a:pt x="9582" y="1110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80" name="işľiḑé"/>
              <p:cNvSpPr/>
              <p:nvPr/>
            </p:nvSpPr>
            <p:spPr>
              <a:xfrm>
                <a:off x="2636020" y="2897880"/>
                <a:ext cx="300379" cy="31842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293" y="19915"/>
                    </a:moveTo>
                    <a:cubicBezTo>
                      <a:pt x="6123" y="19915"/>
                      <a:pt x="6123" y="19149"/>
                      <a:pt x="6123" y="18996"/>
                    </a:cubicBezTo>
                    <a:cubicBezTo>
                      <a:pt x="5443" y="18843"/>
                      <a:pt x="5102" y="19302"/>
                      <a:pt x="4592" y="19302"/>
                    </a:cubicBezTo>
                    <a:cubicBezTo>
                      <a:pt x="1701" y="19302"/>
                      <a:pt x="2891" y="16851"/>
                      <a:pt x="1871" y="15626"/>
                    </a:cubicBezTo>
                    <a:cubicBezTo>
                      <a:pt x="1871" y="15472"/>
                      <a:pt x="2041" y="15319"/>
                      <a:pt x="2041" y="15166"/>
                    </a:cubicBezTo>
                    <a:cubicBezTo>
                      <a:pt x="1871" y="14860"/>
                      <a:pt x="1361" y="14860"/>
                      <a:pt x="1020" y="14860"/>
                    </a:cubicBezTo>
                    <a:cubicBezTo>
                      <a:pt x="680" y="14706"/>
                      <a:pt x="0" y="12255"/>
                      <a:pt x="0" y="11949"/>
                    </a:cubicBezTo>
                    <a:cubicBezTo>
                      <a:pt x="0" y="10877"/>
                      <a:pt x="1531" y="11336"/>
                      <a:pt x="2551" y="11336"/>
                    </a:cubicBezTo>
                    <a:cubicBezTo>
                      <a:pt x="4932" y="11336"/>
                      <a:pt x="4592" y="9191"/>
                      <a:pt x="5613" y="8272"/>
                    </a:cubicBezTo>
                    <a:cubicBezTo>
                      <a:pt x="6123" y="7813"/>
                      <a:pt x="6973" y="7813"/>
                      <a:pt x="7654" y="7660"/>
                    </a:cubicBezTo>
                    <a:cubicBezTo>
                      <a:pt x="8844" y="7506"/>
                      <a:pt x="8844" y="6740"/>
                      <a:pt x="9524" y="6281"/>
                    </a:cubicBezTo>
                    <a:cubicBezTo>
                      <a:pt x="9184" y="5974"/>
                      <a:pt x="10035" y="5362"/>
                      <a:pt x="10035" y="5362"/>
                    </a:cubicBezTo>
                    <a:cubicBezTo>
                      <a:pt x="10375" y="5209"/>
                      <a:pt x="10375" y="5055"/>
                      <a:pt x="10715" y="4902"/>
                    </a:cubicBezTo>
                    <a:cubicBezTo>
                      <a:pt x="10885" y="4902"/>
                      <a:pt x="11055" y="4596"/>
                      <a:pt x="11225" y="4443"/>
                    </a:cubicBezTo>
                    <a:cubicBezTo>
                      <a:pt x="11906" y="3830"/>
                      <a:pt x="13606" y="4136"/>
                      <a:pt x="13946" y="3523"/>
                    </a:cubicBezTo>
                    <a:cubicBezTo>
                      <a:pt x="14457" y="2451"/>
                      <a:pt x="16157" y="0"/>
                      <a:pt x="17348" y="0"/>
                    </a:cubicBezTo>
                    <a:cubicBezTo>
                      <a:pt x="18539" y="0"/>
                      <a:pt x="18539" y="613"/>
                      <a:pt x="18539" y="1685"/>
                    </a:cubicBezTo>
                    <a:cubicBezTo>
                      <a:pt x="18539" y="3064"/>
                      <a:pt x="21600" y="2298"/>
                      <a:pt x="21600" y="3523"/>
                    </a:cubicBezTo>
                    <a:cubicBezTo>
                      <a:pt x="21600" y="4136"/>
                      <a:pt x="19899" y="3830"/>
                      <a:pt x="19899" y="4443"/>
                    </a:cubicBezTo>
                    <a:cubicBezTo>
                      <a:pt x="19899" y="4596"/>
                      <a:pt x="20069" y="4749"/>
                      <a:pt x="20239" y="4749"/>
                    </a:cubicBezTo>
                    <a:cubicBezTo>
                      <a:pt x="20069" y="4902"/>
                      <a:pt x="18028" y="5668"/>
                      <a:pt x="18028" y="5668"/>
                    </a:cubicBezTo>
                    <a:cubicBezTo>
                      <a:pt x="18198" y="5821"/>
                      <a:pt x="18369" y="6128"/>
                      <a:pt x="18369" y="6281"/>
                    </a:cubicBezTo>
                    <a:cubicBezTo>
                      <a:pt x="18198" y="6434"/>
                      <a:pt x="17858" y="6587"/>
                      <a:pt x="17858" y="6740"/>
                    </a:cubicBezTo>
                    <a:cubicBezTo>
                      <a:pt x="17858" y="7813"/>
                      <a:pt x="19899" y="11183"/>
                      <a:pt x="21260" y="11183"/>
                    </a:cubicBezTo>
                    <a:cubicBezTo>
                      <a:pt x="21090" y="12102"/>
                      <a:pt x="20409" y="11796"/>
                      <a:pt x="19559" y="11796"/>
                    </a:cubicBezTo>
                    <a:cubicBezTo>
                      <a:pt x="19389" y="11796"/>
                      <a:pt x="19049" y="11949"/>
                      <a:pt x="18879" y="11949"/>
                    </a:cubicBezTo>
                    <a:cubicBezTo>
                      <a:pt x="18539" y="12715"/>
                      <a:pt x="18539" y="12715"/>
                      <a:pt x="18539" y="12715"/>
                    </a:cubicBezTo>
                    <a:cubicBezTo>
                      <a:pt x="18028" y="14094"/>
                      <a:pt x="17518" y="14553"/>
                      <a:pt x="17518" y="15626"/>
                    </a:cubicBezTo>
                    <a:cubicBezTo>
                      <a:pt x="16668" y="15779"/>
                      <a:pt x="15817" y="16851"/>
                      <a:pt x="15817" y="17311"/>
                    </a:cubicBezTo>
                    <a:cubicBezTo>
                      <a:pt x="15817" y="17770"/>
                      <a:pt x="16157" y="17923"/>
                      <a:pt x="16157" y="18230"/>
                    </a:cubicBezTo>
                    <a:cubicBezTo>
                      <a:pt x="16157" y="18689"/>
                      <a:pt x="15307" y="19762"/>
                      <a:pt x="15307" y="20528"/>
                    </a:cubicBezTo>
                    <a:cubicBezTo>
                      <a:pt x="14117" y="20681"/>
                      <a:pt x="13946" y="21600"/>
                      <a:pt x="12926" y="21600"/>
                    </a:cubicBezTo>
                    <a:cubicBezTo>
                      <a:pt x="12246" y="21600"/>
                      <a:pt x="12076" y="20987"/>
                      <a:pt x="12076" y="20681"/>
                    </a:cubicBezTo>
                    <a:cubicBezTo>
                      <a:pt x="10885" y="20374"/>
                      <a:pt x="10035" y="19609"/>
                      <a:pt x="8674" y="19609"/>
                    </a:cubicBezTo>
                    <a:cubicBezTo>
                      <a:pt x="8164" y="19609"/>
                      <a:pt x="7654" y="20221"/>
                      <a:pt x="6803" y="20221"/>
                    </a:cubicBezTo>
                    <a:cubicBezTo>
                      <a:pt x="6633" y="20221"/>
                      <a:pt x="6463" y="19915"/>
                      <a:pt x="6293" y="19915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81" name="ïŝľîďè"/>
              <p:cNvSpPr/>
              <p:nvPr/>
            </p:nvSpPr>
            <p:spPr>
              <a:xfrm>
                <a:off x="2925169" y="3050399"/>
                <a:ext cx="188089" cy="20871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8476" y="7897"/>
                    </a:moveTo>
                    <a:cubicBezTo>
                      <a:pt x="8203" y="8361"/>
                      <a:pt x="7929" y="8826"/>
                      <a:pt x="7382" y="8826"/>
                    </a:cubicBezTo>
                    <a:cubicBezTo>
                      <a:pt x="5468" y="8826"/>
                      <a:pt x="4648" y="6968"/>
                      <a:pt x="4648" y="5574"/>
                    </a:cubicBezTo>
                    <a:cubicBezTo>
                      <a:pt x="4648" y="3484"/>
                      <a:pt x="6562" y="3716"/>
                      <a:pt x="8749" y="3716"/>
                    </a:cubicBezTo>
                    <a:cubicBezTo>
                      <a:pt x="10663" y="3716"/>
                      <a:pt x="11484" y="3484"/>
                      <a:pt x="13397" y="3484"/>
                    </a:cubicBezTo>
                    <a:cubicBezTo>
                      <a:pt x="14765" y="3484"/>
                      <a:pt x="15858" y="4181"/>
                      <a:pt x="17499" y="4181"/>
                    </a:cubicBezTo>
                    <a:cubicBezTo>
                      <a:pt x="19959" y="4181"/>
                      <a:pt x="20780" y="2323"/>
                      <a:pt x="21053" y="929"/>
                    </a:cubicBezTo>
                    <a:cubicBezTo>
                      <a:pt x="21600" y="929"/>
                      <a:pt x="21600" y="232"/>
                      <a:pt x="21600" y="0"/>
                    </a:cubicBezTo>
                    <a:cubicBezTo>
                      <a:pt x="21053" y="0"/>
                      <a:pt x="21053" y="0"/>
                      <a:pt x="21053" y="0"/>
                    </a:cubicBezTo>
                    <a:cubicBezTo>
                      <a:pt x="19686" y="929"/>
                      <a:pt x="17772" y="1858"/>
                      <a:pt x="17225" y="2323"/>
                    </a:cubicBezTo>
                    <a:cubicBezTo>
                      <a:pt x="16132" y="2323"/>
                      <a:pt x="16132" y="2323"/>
                      <a:pt x="16132" y="2323"/>
                    </a:cubicBezTo>
                    <a:cubicBezTo>
                      <a:pt x="7656" y="1161"/>
                      <a:pt x="7656" y="1161"/>
                      <a:pt x="7656" y="1161"/>
                    </a:cubicBezTo>
                    <a:cubicBezTo>
                      <a:pt x="4648" y="1161"/>
                      <a:pt x="3281" y="4645"/>
                      <a:pt x="3281" y="6968"/>
                    </a:cubicBezTo>
                    <a:cubicBezTo>
                      <a:pt x="3281" y="7665"/>
                      <a:pt x="2187" y="8129"/>
                      <a:pt x="2187" y="8594"/>
                    </a:cubicBezTo>
                    <a:cubicBezTo>
                      <a:pt x="1094" y="10916"/>
                      <a:pt x="0" y="11845"/>
                      <a:pt x="0" y="14168"/>
                    </a:cubicBezTo>
                    <a:cubicBezTo>
                      <a:pt x="0" y="15329"/>
                      <a:pt x="1641" y="15329"/>
                      <a:pt x="2187" y="15329"/>
                    </a:cubicBezTo>
                    <a:cubicBezTo>
                      <a:pt x="2187" y="16955"/>
                      <a:pt x="2187" y="19277"/>
                      <a:pt x="2187" y="20206"/>
                    </a:cubicBezTo>
                    <a:cubicBezTo>
                      <a:pt x="2187" y="20903"/>
                      <a:pt x="3281" y="21600"/>
                      <a:pt x="4375" y="21600"/>
                    </a:cubicBezTo>
                    <a:cubicBezTo>
                      <a:pt x="5468" y="21600"/>
                      <a:pt x="6015" y="18116"/>
                      <a:pt x="6015" y="17652"/>
                    </a:cubicBezTo>
                    <a:cubicBezTo>
                      <a:pt x="6015" y="16258"/>
                      <a:pt x="4922" y="15561"/>
                      <a:pt x="4922" y="14168"/>
                    </a:cubicBezTo>
                    <a:cubicBezTo>
                      <a:pt x="4922" y="13471"/>
                      <a:pt x="6015" y="13006"/>
                      <a:pt x="6835" y="13006"/>
                    </a:cubicBezTo>
                    <a:cubicBezTo>
                      <a:pt x="7109" y="13006"/>
                      <a:pt x="7382" y="13006"/>
                      <a:pt x="7656" y="13006"/>
                    </a:cubicBezTo>
                    <a:cubicBezTo>
                      <a:pt x="7382" y="15097"/>
                      <a:pt x="7382" y="15097"/>
                      <a:pt x="7382" y="15097"/>
                    </a:cubicBezTo>
                    <a:cubicBezTo>
                      <a:pt x="7382" y="16490"/>
                      <a:pt x="9296" y="16955"/>
                      <a:pt x="9296" y="18348"/>
                    </a:cubicBezTo>
                    <a:cubicBezTo>
                      <a:pt x="9296" y="18581"/>
                      <a:pt x="9296" y="18813"/>
                      <a:pt x="9296" y="19277"/>
                    </a:cubicBezTo>
                    <a:cubicBezTo>
                      <a:pt x="10663" y="19277"/>
                      <a:pt x="10663" y="19277"/>
                      <a:pt x="10663" y="19277"/>
                    </a:cubicBezTo>
                    <a:cubicBezTo>
                      <a:pt x="10663" y="18116"/>
                      <a:pt x="13397" y="18116"/>
                      <a:pt x="13397" y="16955"/>
                    </a:cubicBezTo>
                    <a:cubicBezTo>
                      <a:pt x="12851" y="16955"/>
                      <a:pt x="11757" y="15794"/>
                      <a:pt x="11757" y="15097"/>
                    </a:cubicBezTo>
                    <a:cubicBezTo>
                      <a:pt x="11757" y="15097"/>
                      <a:pt x="12030" y="14865"/>
                      <a:pt x="12304" y="14632"/>
                    </a:cubicBezTo>
                    <a:cubicBezTo>
                      <a:pt x="11484" y="14168"/>
                      <a:pt x="9296" y="10684"/>
                      <a:pt x="9296" y="10219"/>
                    </a:cubicBezTo>
                    <a:cubicBezTo>
                      <a:pt x="12577" y="10219"/>
                      <a:pt x="12851" y="8129"/>
                      <a:pt x="15585" y="7200"/>
                    </a:cubicBezTo>
                    <a:cubicBezTo>
                      <a:pt x="15585" y="6503"/>
                      <a:pt x="15585" y="6503"/>
                      <a:pt x="15585" y="6503"/>
                    </a:cubicBezTo>
                    <a:cubicBezTo>
                      <a:pt x="14765" y="6271"/>
                      <a:pt x="8476" y="8129"/>
                      <a:pt x="8476" y="8361"/>
                    </a:cubicBezTo>
                    <a:lnTo>
                      <a:pt x="8476" y="7897"/>
                    </a:ln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82" name="í$ḷiḑê"/>
              <p:cNvSpPr/>
              <p:nvPr/>
            </p:nvSpPr>
            <p:spPr>
              <a:xfrm>
                <a:off x="2532152" y="3261788"/>
                <a:ext cx="303186" cy="8295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756" y="21016"/>
                    </a:moveTo>
                    <a:cubicBezTo>
                      <a:pt x="20081" y="21016"/>
                      <a:pt x="20081" y="19265"/>
                      <a:pt x="19237" y="19265"/>
                    </a:cubicBezTo>
                    <a:cubicBezTo>
                      <a:pt x="19069" y="19265"/>
                      <a:pt x="19237" y="21016"/>
                      <a:pt x="19237" y="21600"/>
                    </a:cubicBezTo>
                    <a:cubicBezTo>
                      <a:pt x="16875" y="18681"/>
                      <a:pt x="14344" y="18097"/>
                      <a:pt x="11306" y="18097"/>
                    </a:cubicBezTo>
                    <a:cubicBezTo>
                      <a:pt x="10463" y="18097"/>
                      <a:pt x="10294" y="14595"/>
                      <a:pt x="9450" y="14595"/>
                    </a:cubicBezTo>
                    <a:cubicBezTo>
                      <a:pt x="8100" y="14595"/>
                      <a:pt x="6919" y="14595"/>
                      <a:pt x="5400" y="12843"/>
                    </a:cubicBezTo>
                    <a:cubicBezTo>
                      <a:pt x="4219" y="11676"/>
                      <a:pt x="3206" y="14011"/>
                      <a:pt x="2363" y="11676"/>
                    </a:cubicBezTo>
                    <a:cubicBezTo>
                      <a:pt x="1688" y="8757"/>
                      <a:pt x="1181" y="5838"/>
                      <a:pt x="0" y="5838"/>
                    </a:cubicBezTo>
                    <a:cubicBezTo>
                      <a:pt x="0" y="5254"/>
                      <a:pt x="1350" y="584"/>
                      <a:pt x="1856" y="584"/>
                    </a:cubicBezTo>
                    <a:cubicBezTo>
                      <a:pt x="2025" y="584"/>
                      <a:pt x="2194" y="1751"/>
                      <a:pt x="2363" y="1751"/>
                    </a:cubicBezTo>
                    <a:cubicBezTo>
                      <a:pt x="2869" y="1751"/>
                      <a:pt x="3206" y="0"/>
                      <a:pt x="3713" y="0"/>
                    </a:cubicBezTo>
                    <a:cubicBezTo>
                      <a:pt x="5906" y="0"/>
                      <a:pt x="6919" y="8173"/>
                      <a:pt x="9281" y="8173"/>
                    </a:cubicBezTo>
                    <a:cubicBezTo>
                      <a:pt x="10463" y="8173"/>
                      <a:pt x="10631" y="4086"/>
                      <a:pt x="11475" y="4086"/>
                    </a:cubicBezTo>
                    <a:cubicBezTo>
                      <a:pt x="12994" y="4086"/>
                      <a:pt x="13500" y="8757"/>
                      <a:pt x="14850" y="8757"/>
                    </a:cubicBezTo>
                    <a:cubicBezTo>
                      <a:pt x="17044" y="8173"/>
                      <a:pt x="17044" y="8173"/>
                      <a:pt x="17044" y="8173"/>
                    </a:cubicBezTo>
                    <a:cubicBezTo>
                      <a:pt x="17719" y="8173"/>
                      <a:pt x="17719" y="8173"/>
                      <a:pt x="17719" y="8173"/>
                    </a:cubicBezTo>
                    <a:cubicBezTo>
                      <a:pt x="17550" y="9341"/>
                      <a:pt x="15019" y="9924"/>
                      <a:pt x="15019" y="9924"/>
                    </a:cubicBezTo>
                    <a:cubicBezTo>
                      <a:pt x="15694" y="12843"/>
                      <a:pt x="16706" y="12843"/>
                      <a:pt x="18056" y="12843"/>
                    </a:cubicBezTo>
                    <a:cubicBezTo>
                      <a:pt x="18562" y="12843"/>
                      <a:pt x="18562" y="15178"/>
                      <a:pt x="18731" y="15178"/>
                    </a:cubicBezTo>
                    <a:cubicBezTo>
                      <a:pt x="19237" y="17514"/>
                      <a:pt x="19744" y="15178"/>
                      <a:pt x="20419" y="15762"/>
                    </a:cubicBezTo>
                    <a:cubicBezTo>
                      <a:pt x="21094" y="16930"/>
                      <a:pt x="21094" y="17514"/>
                      <a:pt x="21600" y="18097"/>
                    </a:cubicBezTo>
                    <a:cubicBezTo>
                      <a:pt x="21431" y="19265"/>
                      <a:pt x="20925" y="21016"/>
                      <a:pt x="20756" y="21016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83" name="ïṩ1îdé"/>
              <p:cNvSpPr/>
              <p:nvPr/>
            </p:nvSpPr>
            <p:spPr>
              <a:xfrm>
                <a:off x="2958856" y="3328682"/>
                <a:ext cx="92642" cy="2140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400" y="21600"/>
                    </a:moveTo>
                    <a:cubicBezTo>
                      <a:pt x="11077" y="21600"/>
                      <a:pt x="7200" y="21600"/>
                      <a:pt x="5538" y="21600"/>
                    </a:cubicBezTo>
                    <a:cubicBezTo>
                      <a:pt x="3877" y="21600"/>
                      <a:pt x="0" y="21600"/>
                      <a:pt x="0" y="9600"/>
                    </a:cubicBezTo>
                    <a:cubicBezTo>
                      <a:pt x="0" y="2400"/>
                      <a:pt x="2769" y="2400"/>
                      <a:pt x="4431" y="2400"/>
                    </a:cubicBezTo>
                    <a:cubicBezTo>
                      <a:pt x="8862" y="2400"/>
                      <a:pt x="10523" y="9600"/>
                      <a:pt x="14400" y="9600"/>
                    </a:cubicBezTo>
                    <a:cubicBezTo>
                      <a:pt x="17723" y="9600"/>
                      <a:pt x="19385" y="4800"/>
                      <a:pt x="21600" y="0"/>
                    </a:cubicBezTo>
                    <a:cubicBezTo>
                      <a:pt x="19385" y="14400"/>
                      <a:pt x="17723" y="16800"/>
                      <a:pt x="14400" y="2160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84" name="îSḷîďé"/>
              <p:cNvSpPr/>
              <p:nvPr/>
            </p:nvSpPr>
            <p:spPr>
              <a:xfrm>
                <a:off x="2869024" y="3334033"/>
                <a:ext cx="64569" cy="2140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14400"/>
                    </a:moveTo>
                    <a:cubicBezTo>
                      <a:pt x="18400" y="14400"/>
                      <a:pt x="18400" y="14400"/>
                      <a:pt x="18400" y="14400"/>
                    </a:cubicBezTo>
                    <a:cubicBezTo>
                      <a:pt x="15200" y="12000"/>
                      <a:pt x="15200" y="12000"/>
                      <a:pt x="15200" y="12000"/>
                    </a:cubicBezTo>
                    <a:cubicBezTo>
                      <a:pt x="12000" y="14400"/>
                      <a:pt x="10400" y="21600"/>
                      <a:pt x="7200" y="21600"/>
                    </a:cubicBezTo>
                    <a:cubicBezTo>
                      <a:pt x="4000" y="21600"/>
                      <a:pt x="0" y="19200"/>
                      <a:pt x="0" y="14400"/>
                    </a:cubicBezTo>
                    <a:cubicBezTo>
                      <a:pt x="0" y="2400"/>
                      <a:pt x="2400" y="2400"/>
                      <a:pt x="5600" y="2400"/>
                    </a:cubicBezTo>
                    <a:cubicBezTo>
                      <a:pt x="8800" y="2400"/>
                      <a:pt x="10400" y="4800"/>
                      <a:pt x="12800" y="7200"/>
                    </a:cubicBezTo>
                    <a:cubicBezTo>
                      <a:pt x="12800" y="4800"/>
                      <a:pt x="12800" y="2400"/>
                      <a:pt x="12800" y="0"/>
                    </a:cubicBezTo>
                    <a:cubicBezTo>
                      <a:pt x="21600" y="0"/>
                      <a:pt x="21600" y="0"/>
                      <a:pt x="21600" y="0"/>
                    </a:cubicBezTo>
                    <a:cubicBezTo>
                      <a:pt x="21600" y="7200"/>
                      <a:pt x="20800" y="12000"/>
                      <a:pt x="21600" y="1440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85" name="íṩliḍè"/>
              <p:cNvSpPr/>
              <p:nvPr/>
            </p:nvSpPr>
            <p:spPr>
              <a:xfrm>
                <a:off x="2936398" y="3360155"/>
                <a:ext cx="47726" cy="3007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0229" extrusionOk="0">
                    <a:moveTo>
                      <a:pt x="16200" y="20229"/>
                    </a:moveTo>
                    <a:cubicBezTo>
                      <a:pt x="12960" y="20229"/>
                      <a:pt x="12960" y="14058"/>
                      <a:pt x="12960" y="12515"/>
                    </a:cubicBezTo>
                    <a:cubicBezTo>
                      <a:pt x="8640" y="12515"/>
                      <a:pt x="0" y="10972"/>
                      <a:pt x="0" y="4800"/>
                    </a:cubicBezTo>
                    <a:cubicBezTo>
                      <a:pt x="0" y="-1371"/>
                      <a:pt x="6480" y="172"/>
                      <a:pt x="9720" y="172"/>
                    </a:cubicBezTo>
                    <a:cubicBezTo>
                      <a:pt x="10800" y="172"/>
                      <a:pt x="12960" y="172"/>
                      <a:pt x="14040" y="172"/>
                    </a:cubicBezTo>
                    <a:cubicBezTo>
                      <a:pt x="14040" y="9429"/>
                      <a:pt x="21600" y="7886"/>
                      <a:pt x="21600" y="15600"/>
                    </a:cubicBezTo>
                    <a:cubicBezTo>
                      <a:pt x="21600" y="18686"/>
                      <a:pt x="19440" y="20229"/>
                      <a:pt x="17280" y="20229"/>
                    </a:cubicBezTo>
                    <a:cubicBezTo>
                      <a:pt x="17280" y="20229"/>
                      <a:pt x="16200" y="20229"/>
                      <a:pt x="16200" y="20229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86" name="iS1iḍé"/>
              <p:cNvSpPr/>
              <p:nvPr/>
            </p:nvSpPr>
            <p:spPr>
              <a:xfrm>
                <a:off x="2846566" y="3331358"/>
                <a:ext cx="19653" cy="1873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cubicBezTo>
                      <a:pt x="2700" y="0"/>
                      <a:pt x="5400" y="0"/>
                      <a:pt x="10800" y="0"/>
                    </a:cubicBezTo>
                    <a:cubicBezTo>
                      <a:pt x="16200" y="0"/>
                      <a:pt x="16200" y="5400"/>
                      <a:pt x="21600" y="8100"/>
                    </a:cubicBezTo>
                    <a:cubicBezTo>
                      <a:pt x="18900" y="16200"/>
                      <a:pt x="13500" y="21600"/>
                      <a:pt x="8100" y="21600"/>
                    </a:cubicBezTo>
                    <a:cubicBezTo>
                      <a:pt x="5400" y="21600"/>
                      <a:pt x="0" y="16200"/>
                      <a:pt x="0" y="13500"/>
                    </a:cubicBezTo>
                    <a:cubicBezTo>
                      <a:pt x="0" y="8100"/>
                      <a:pt x="0" y="5400"/>
                      <a:pt x="0" y="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87" name="îṡľiďê"/>
              <p:cNvSpPr/>
              <p:nvPr/>
            </p:nvSpPr>
            <p:spPr>
              <a:xfrm>
                <a:off x="3068339" y="3337555"/>
                <a:ext cx="103871" cy="5534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0308" extrusionOk="0">
                    <a:moveTo>
                      <a:pt x="9120" y="9508"/>
                    </a:moveTo>
                    <a:cubicBezTo>
                      <a:pt x="7680" y="9508"/>
                      <a:pt x="9120" y="12831"/>
                      <a:pt x="8160" y="14493"/>
                    </a:cubicBezTo>
                    <a:cubicBezTo>
                      <a:pt x="7200" y="16154"/>
                      <a:pt x="3840" y="20308"/>
                      <a:pt x="1440" y="20308"/>
                    </a:cubicBezTo>
                    <a:cubicBezTo>
                      <a:pt x="480" y="20308"/>
                      <a:pt x="0" y="18646"/>
                      <a:pt x="0" y="16985"/>
                    </a:cubicBezTo>
                    <a:cubicBezTo>
                      <a:pt x="0" y="8677"/>
                      <a:pt x="3840" y="8677"/>
                      <a:pt x="7200" y="7016"/>
                    </a:cubicBezTo>
                    <a:cubicBezTo>
                      <a:pt x="7680" y="7016"/>
                      <a:pt x="7680" y="4523"/>
                      <a:pt x="8160" y="3693"/>
                    </a:cubicBezTo>
                    <a:cubicBezTo>
                      <a:pt x="10080" y="370"/>
                      <a:pt x="19680" y="-1292"/>
                      <a:pt x="21600" y="1200"/>
                    </a:cubicBezTo>
                    <a:cubicBezTo>
                      <a:pt x="19200" y="6185"/>
                      <a:pt x="12480" y="9508"/>
                      <a:pt x="9120" y="9508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88" name="i$1iḑè"/>
              <p:cNvSpPr/>
              <p:nvPr/>
            </p:nvSpPr>
            <p:spPr>
              <a:xfrm>
                <a:off x="3141328" y="3182279"/>
                <a:ext cx="30882" cy="2599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17486" extrusionOk="0">
                    <a:moveTo>
                      <a:pt x="21600" y="8229"/>
                    </a:moveTo>
                    <a:cubicBezTo>
                      <a:pt x="21600" y="9772"/>
                      <a:pt x="16615" y="17486"/>
                      <a:pt x="13292" y="17486"/>
                    </a:cubicBezTo>
                    <a:cubicBezTo>
                      <a:pt x="9969" y="17486"/>
                      <a:pt x="0" y="9772"/>
                      <a:pt x="0" y="3600"/>
                    </a:cubicBezTo>
                    <a:cubicBezTo>
                      <a:pt x="0" y="-4114"/>
                      <a:pt x="21600" y="2057"/>
                      <a:pt x="21600" y="8229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89" name="iṥḻîḑé"/>
              <p:cNvSpPr/>
              <p:nvPr/>
            </p:nvSpPr>
            <p:spPr>
              <a:xfrm>
                <a:off x="3194667" y="3178837"/>
                <a:ext cx="84219" cy="2408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8600" y="4320"/>
                    </a:moveTo>
                    <a:cubicBezTo>
                      <a:pt x="19200" y="10800"/>
                      <a:pt x="21600" y="12960"/>
                      <a:pt x="21600" y="21600"/>
                    </a:cubicBezTo>
                    <a:cubicBezTo>
                      <a:pt x="21600" y="21600"/>
                      <a:pt x="21000" y="21600"/>
                      <a:pt x="20400" y="21600"/>
                    </a:cubicBezTo>
                    <a:cubicBezTo>
                      <a:pt x="16800" y="21600"/>
                      <a:pt x="15000" y="12960"/>
                      <a:pt x="10800" y="12960"/>
                    </a:cubicBezTo>
                    <a:cubicBezTo>
                      <a:pt x="8400" y="12960"/>
                      <a:pt x="7200" y="12960"/>
                      <a:pt x="4800" y="12960"/>
                    </a:cubicBezTo>
                    <a:cubicBezTo>
                      <a:pt x="3600" y="12960"/>
                      <a:pt x="0" y="8640"/>
                      <a:pt x="0" y="8640"/>
                    </a:cubicBezTo>
                    <a:cubicBezTo>
                      <a:pt x="0" y="4320"/>
                      <a:pt x="1800" y="2160"/>
                      <a:pt x="1800" y="0"/>
                    </a:cubicBezTo>
                    <a:cubicBezTo>
                      <a:pt x="13800" y="0"/>
                      <a:pt x="13800" y="0"/>
                      <a:pt x="13800" y="0"/>
                    </a:cubicBezTo>
                    <a:cubicBezTo>
                      <a:pt x="14400" y="6480"/>
                      <a:pt x="16200" y="4320"/>
                      <a:pt x="18000" y="4320"/>
                    </a:cubicBezTo>
                    <a:lnTo>
                      <a:pt x="18600" y="4320"/>
                    </a:ln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90" name="ïsḷïḋè"/>
              <p:cNvSpPr/>
              <p:nvPr/>
            </p:nvSpPr>
            <p:spPr>
              <a:xfrm>
                <a:off x="3183438" y="3031670"/>
                <a:ext cx="33688" cy="776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5760" y="17280"/>
                    </a:moveTo>
                    <a:cubicBezTo>
                      <a:pt x="5760" y="15429"/>
                      <a:pt x="5760" y="15429"/>
                      <a:pt x="5760" y="15429"/>
                    </a:cubicBezTo>
                    <a:cubicBezTo>
                      <a:pt x="11520" y="15429"/>
                      <a:pt x="17280" y="14811"/>
                      <a:pt x="20160" y="14811"/>
                    </a:cubicBezTo>
                    <a:cubicBezTo>
                      <a:pt x="20160" y="12343"/>
                      <a:pt x="15840" y="12343"/>
                      <a:pt x="15840" y="10491"/>
                    </a:cubicBezTo>
                    <a:cubicBezTo>
                      <a:pt x="15840" y="9257"/>
                      <a:pt x="21600" y="8640"/>
                      <a:pt x="21600" y="7406"/>
                    </a:cubicBezTo>
                    <a:cubicBezTo>
                      <a:pt x="11520" y="6171"/>
                      <a:pt x="5760" y="3703"/>
                      <a:pt x="5760" y="0"/>
                    </a:cubicBezTo>
                    <a:cubicBezTo>
                      <a:pt x="0" y="1234"/>
                      <a:pt x="0" y="3086"/>
                      <a:pt x="0" y="5554"/>
                    </a:cubicBezTo>
                    <a:cubicBezTo>
                      <a:pt x="0" y="9257"/>
                      <a:pt x="4320" y="9874"/>
                      <a:pt x="4320" y="12960"/>
                    </a:cubicBezTo>
                    <a:cubicBezTo>
                      <a:pt x="4320" y="16046"/>
                      <a:pt x="4320" y="14811"/>
                      <a:pt x="4320" y="16663"/>
                    </a:cubicBezTo>
                    <a:cubicBezTo>
                      <a:pt x="4320" y="18514"/>
                      <a:pt x="5760" y="21600"/>
                      <a:pt x="12960" y="21600"/>
                    </a:cubicBezTo>
                    <a:cubicBezTo>
                      <a:pt x="10080" y="19749"/>
                      <a:pt x="8640" y="19131"/>
                      <a:pt x="5760" y="1728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91" name="iṡḷídè"/>
              <p:cNvSpPr/>
              <p:nvPr/>
            </p:nvSpPr>
            <p:spPr>
              <a:xfrm>
                <a:off x="3030877" y="2817607"/>
                <a:ext cx="130104" cy="12041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0855" h="21600" extrusionOk="0">
                    <a:moveTo>
                      <a:pt x="17131" y="15487"/>
                    </a:moveTo>
                    <a:cubicBezTo>
                      <a:pt x="17131" y="15079"/>
                      <a:pt x="16758" y="14672"/>
                      <a:pt x="16386" y="14264"/>
                    </a:cubicBezTo>
                    <a:cubicBezTo>
                      <a:pt x="15641" y="15079"/>
                      <a:pt x="14896" y="15487"/>
                      <a:pt x="14896" y="16302"/>
                    </a:cubicBezTo>
                    <a:cubicBezTo>
                      <a:pt x="14896" y="17525"/>
                      <a:pt x="16758" y="17932"/>
                      <a:pt x="16758" y="19562"/>
                    </a:cubicBezTo>
                    <a:cubicBezTo>
                      <a:pt x="16758" y="20785"/>
                      <a:pt x="16014" y="21600"/>
                      <a:pt x="14896" y="21600"/>
                    </a:cubicBezTo>
                    <a:cubicBezTo>
                      <a:pt x="14524" y="21600"/>
                      <a:pt x="14152" y="20785"/>
                      <a:pt x="14152" y="20377"/>
                    </a:cubicBezTo>
                    <a:cubicBezTo>
                      <a:pt x="13779" y="20785"/>
                      <a:pt x="13034" y="20785"/>
                      <a:pt x="12662" y="20785"/>
                    </a:cubicBezTo>
                    <a:cubicBezTo>
                      <a:pt x="10800" y="20785"/>
                      <a:pt x="8938" y="17932"/>
                      <a:pt x="8938" y="15079"/>
                    </a:cubicBezTo>
                    <a:cubicBezTo>
                      <a:pt x="8938" y="13857"/>
                      <a:pt x="9310" y="13449"/>
                      <a:pt x="9683" y="13042"/>
                    </a:cubicBezTo>
                    <a:cubicBezTo>
                      <a:pt x="9683" y="12634"/>
                      <a:pt x="9310" y="12226"/>
                      <a:pt x="9310" y="11819"/>
                    </a:cubicBezTo>
                    <a:cubicBezTo>
                      <a:pt x="7076" y="11411"/>
                      <a:pt x="7076" y="11411"/>
                      <a:pt x="7076" y="11411"/>
                    </a:cubicBezTo>
                    <a:cubicBezTo>
                      <a:pt x="7076" y="12226"/>
                      <a:pt x="6703" y="12634"/>
                      <a:pt x="7076" y="13042"/>
                    </a:cubicBezTo>
                    <a:cubicBezTo>
                      <a:pt x="5958" y="13042"/>
                      <a:pt x="5958" y="12634"/>
                      <a:pt x="5586" y="12226"/>
                    </a:cubicBezTo>
                    <a:cubicBezTo>
                      <a:pt x="5586" y="12226"/>
                      <a:pt x="5214" y="12634"/>
                      <a:pt x="5214" y="13042"/>
                    </a:cubicBezTo>
                    <a:cubicBezTo>
                      <a:pt x="4469" y="12634"/>
                      <a:pt x="3724" y="11411"/>
                      <a:pt x="3724" y="11411"/>
                    </a:cubicBezTo>
                    <a:cubicBezTo>
                      <a:pt x="2234" y="13042"/>
                      <a:pt x="2234" y="18340"/>
                      <a:pt x="745" y="18340"/>
                    </a:cubicBezTo>
                    <a:cubicBezTo>
                      <a:pt x="-745" y="18340"/>
                      <a:pt x="745" y="15079"/>
                      <a:pt x="745" y="14672"/>
                    </a:cubicBezTo>
                    <a:cubicBezTo>
                      <a:pt x="745" y="14264"/>
                      <a:pt x="0" y="13449"/>
                      <a:pt x="0" y="13042"/>
                    </a:cubicBezTo>
                    <a:cubicBezTo>
                      <a:pt x="0" y="11411"/>
                      <a:pt x="745" y="10596"/>
                      <a:pt x="1117" y="8966"/>
                    </a:cubicBezTo>
                    <a:cubicBezTo>
                      <a:pt x="4096" y="8966"/>
                      <a:pt x="3352" y="5706"/>
                      <a:pt x="6331" y="5706"/>
                    </a:cubicBezTo>
                    <a:cubicBezTo>
                      <a:pt x="8193" y="5706"/>
                      <a:pt x="7821" y="8151"/>
                      <a:pt x="8938" y="8151"/>
                    </a:cubicBezTo>
                    <a:cubicBezTo>
                      <a:pt x="9310" y="8151"/>
                      <a:pt x="9310" y="8151"/>
                      <a:pt x="9683" y="8151"/>
                    </a:cubicBezTo>
                    <a:cubicBezTo>
                      <a:pt x="9683" y="7336"/>
                      <a:pt x="10427" y="6521"/>
                      <a:pt x="11172" y="6113"/>
                    </a:cubicBezTo>
                    <a:cubicBezTo>
                      <a:pt x="11172" y="4075"/>
                      <a:pt x="13779" y="4891"/>
                      <a:pt x="14524" y="3668"/>
                    </a:cubicBezTo>
                    <a:cubicBezTo>
                      <a:pt x="14896" y="2853"/>
                      <a:pt x="14896" y="408"/>
                      <a:pt x="14896" y="0"/>
                    </a:cubicBezTo>
                    <a:cubicBezTo>
                      <a:pt x="16014" y="0"/>
                      <a:pt x="16758" y="815"/>
                      <a:pt x="17131" y="1630"/>
                    </a:cubicBezTo>
                    <a:cubicBezTo>
                      <a:pt x="18248" y="2853"/>
                      <a:pt x="20855" y="12226"/>
                      <a:pt x="20855" y="13449"/>
                    </a:cubicBezTo>
                    <a:cubicBezTo>
                      <a:pt x="20855" y="15079"/>
                      <a:pt x="18993" y="15894"/>
                      <a:pt x="18993" y="18747"/>
                    </a:cubicBezTo>
                    <a:cubicBezTo>
                      <a:pt x="18248" y="18747"/>
                      <a:pt x="17131" y="15079"/>
                      <a:pt x="17131" y="14672"/>
                    </a:cubicBezTo>
                    <a:lnTo>
                      <a:pt x="17131" y="15487"/>
                    </a:ln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92" name="ïŝ1ídé"/>
              <p:cNvSpPr/>
              <p:nvPr/>
            </p:nvSpPr>
            <p:spPr>
              <a:xfrm>
                <a:off x="2902711" y="2785497"/>
                <a:ext cx="64569" cy="6689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314" y="21600"/>
                    </a:moveTo>
                    <a:cubicBezTo>
                      <a:pt x="0" y="21600"/>
                      <a:pt x="0" y="21600"/>
                      <a:pt x="0" y="21600"/>
                    </a:cubicBezTo>
                    <a:cubicBezTo>
                      <a:pt x="3086" y="13407"/>
                      <a:pt x="13886" y="9683"/>
                      <a:pt x="16971" y="3724"/>
                    </a:cubicBezTo>
                    <a:cubicBezTo>
                      <a:pt x="17743" y="2234"/>
                      <a:pt x="17743" y="745"/>
                      <a:pt x="19286" y="0"/>
                    </a:cubicBezTo>
                    <a:cubicBezTo>
                      <a:pt x="18514" y="2979"/>
                      <a:pt x="20057" y="3724"/>
                      <a:pt x="21600" y="4469"/>
                    </a:cubicBezTo>
                    <a:cubicBezTo>
                      <a:pt x="20057" y="5959"/>
                      <a:pt x="20057" y="6703"/>
                      <a:pt x="18514" y="6703"/>
                    </a:cubicBezTo>
                    <a:cubicBezTo>
                      <a:pt x="17743" y="8938"/>
                      <a:pt x="15429" y="9683"/>
                      <a:pt x="13114" y="9683"/>
                    </a:cubicBezTo>
                    <a:cubicBezTo>
                      <a:pt x="11571" y="16386"/>
                      <a:pt x="6171" y="19366"/>
                      <a:pt x="2314" y="2160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93" name="íṩlïḑé"/>
              <p:cNvSpPr/>
              <p:nvPr/>
            </p:nvSpPr>
            <p:spPr>
              <a:xfrm>
                <a:off x="2955321" y="2571434"/>
                <a:ext cx="124250" cy="17125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244" h="21600" extrusionOk="0">
                    <a:moveTo>
                      <a:pt x="1244" y="8811"/>
                    </a:moveTo>
                    <a:cubicBezTo>
                      <a:pt x="2044" y="7958"/>
                      <a:pt x="2044" y="6537"/>
                      <a:pt x="2044" y="5684"/>
                    </a:cubicBezTo>
                    <a:cubicBezTo>
                      <a:pt x="2444" y="4263"/>
                      <a:pt x="1644" y="3411"/>
                      <a:pt x="1644" y="1989"/>
                    </a:cubicBezTo>
                    <a:cubicBezTo>
                      <a:pt x="1644" y="853"/>
                      <a:pt x="2044" y="0"/>
                      <a:pt x="3244" y="0"/>
                    </a:cubicBezTo>
                    <a:cubicBezTo>
                      <a:pt x="4844" y="0"/>
                      <a:pt x="4444" y="1989"/>
                      <a:pt x="6044" y="1989"/>
                    </a:cubicBezTo>
                    <a:cubicBezTo>
                      <a:pt x="6844" y="1989"/>
                      <a:pt x="7644" y="1137"/>
                      <a:pt x="8044" y="853"/>
                    </a:cubicBezTo>
                    <a:cubicBezTo>
                      <a:pt x="8044" y="853"/>
                      <a:pt x="8444" y="1137"/>
                      <a:pt x="8444" y="1421"/>
                    </a:cubicBezTo>
                    <a:cubicBezTo>
                      <a:pt x="8444" y="1705"/>
                      <a:pt x="8844" y="1989"/>
                      <a:pt x="8844" y="2274"/>
                    </a:cubicBezTo>
                    <a:cubicBezTo>
                      <a:pt x="8844" y="3695"/>
                      <a:pt x="10844" y="5116"/>
                      <a:pt x="10844" y="7105"/>
                    </a:cubicBezTo>
                    <a:cubicBezTo>
                      <a:pt x="10844" y="9379"/>
                      <a:pt x="7644" y="9663"/>
                      <a:pt x="7644" y="11937"/>
                    </a:cubicBezTo>
                    <a:cubicBezTo>
                      <a:pt x="7644" y="13642"/>
                      <a:pt x="10044" y="16200"/>
                      <a:pt x="11644" y="16768"/>
                    </a:cubicBezTo>
                    <a:cubicBezTo>
                      <a:pt x="11644" y="16768"/>
                      <a:pt x="11644" y="16484"/>
                      <a:pt x="11644" y="16484"/>
                    </a:cubicBezTo>
                    <a:cubicBezTo>
                      <a:pt x="11644" y="15916"/>
                      <a:pt x="12444" y="15347"/>
                      <a:pt x="13244" y="15632"/>
                    </a:cubicBezTo>
                    <a:cubicBezTo>
                      <a:pt x="15244" y="15632"/>
                      <a:pt x="15644" y="17905"/>
                      <a:pt x="16844" y="18189"/>
                    </a:cubicBezTo>
                    <a:cubicBezTo>
                      <a:pt x="17244" y="18189"/>
                      <a:pt x="17644" y="17337"/>
                      <a:pt x="18044" y="17337"/>
                    </a:cubicBezTo>
                    <a:cubicBezTo>
                      <a:pt x="18444" y="17337"/>
                      <a:pt x="18844" y="17621"/>
                      <a:pt x="19244" y="17621"/>
                    </a:cubicBezTo>
                    <a:cubicBezTo>
                      <a:pt x="18844" y="18189"/>
                      <a:pt x="18044" y="18189"/>
                      <a:pt x="18044" y="18758"/>
                    </a:cubicBezTo>
                    <a:cubicBezTo>
                      <a:pt x="18044" y="19042"/>
                      <a:pt x="18844" y="19042"/>
                      <a:pt x="19244" y="18758"/>
                    </a:cubicBezTo>
                    <a:cubicBezTo>
                      <a:pt x="19244" y="19611"/>
                      <a:pt x="20044" y="20179"/>
                      <a:pt x="21244" y="20179"/>
                    </a:cubicBezTo>
                    <a:cubicBezTo>
                      <a:pt x="21244" y="20463"/>
                      <a:pt x="21244" y="20747"/>
                      <a:pt x="21244" y="21032"/>
                    </a:cubicBezTo>
                    <a:cubicBezTo>
                      <a:pt x="21244" y="21316"/>
                      <a:pt x="20844" y="21600"/>
                      <a:pt x="20844" y="21600"/>
                    </a:cubicBezTo>
                    <a:cubicBezTo>
                      <a:pt x="20044" y="21600"/>
                      <a:pt x="20044" y="21032"/>
                      <a:pt x="20044" y="20747"/>
                    </a:cubicBezTo>
                    <a:cubicBezTo>
                      <a:pt x="18844" y="19611"/>
                      <a:pt x="15244" y="18474"/>
                      <a:pt x="14044" y="17337"/>
                    </a:cubicBezTo>
                    <a:cubicBezTo>
                      <a:pt x="13244" y="18189"/>
                      <a:pt x="13644" y="18758"/>
                      <a:pt x="14444" y="19611"/>
                    </a:cubicBezTo>
                    <a:cubicBezTo>
                      <a:pt x="12044" y="19611"/>
                      <a:pt x="12044" y="17053"/>
                      <a:pt x="9644" y="17053"/>
                    </a:cubicBezTo>
                    <a:cubicBezTo>
                      <a:pt x="8844" y="17053"/>
                      <a:pt x="8044" y="17621"/>
                      <a:pt x="7244" y="17621"/>
                    </a:cubicBezTo>
                    <a:cubicBezTo>
                      <a:pt x="6044" y="17621"/>
                      <a:pt x="4844" y="16768"/>
                      <a:pt x="4844" y="16200"/>
                    </a:cubicBezTo>
                    <a:cubicBezTo>
                      <a:pt x="4844" y="15632"/>
                      <a:pt x="5244" y="15063"/>
                      <a:pt x="5644" y="15063"/>
                    </a:cubicBezTo>
                    <a:cubicBezTo>
                      <a:pt x="5644" y="13926"/>
                      <a:pt x="5644" y="13926"/>
                      <a:pt x="5644" y="13926"/>
                    </a:cubicBezTo>
                    <a:cubicBezTo>
                      <a:pt x="4844" y="13926"/>
                      <a:pt x="4844" y="13926"/>
                      <a:pt x="4844" y="13926"/>
                    </a:cubicBezTo>
                    <a:cubicBezTo>
                      <a:pt x="4444" y="14211"/>
                      <a:pt x="4044" y="14495"/>
                      <a:pt x="3644" y="14495"/>
                    </a:cubicBezTo>
                    <a:cubicBezTo>
                      <a:pt x="2844" y="14495"/>
                      <a:pt x="44" y="13358"/>
                      <a:pt x="44" y="12505"/>
                    </a:cubicBezTo>
                    <a:cubicBezTo>
                      <a:pt x="44" y="10800"/>
                      <a:pt x="-356" y="8526"/>
                      <a:pt x="1244" y="8811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94" name="ísḻïďê"/>
              <p:cNvSpPr/>
              <p:nvPr/>
            </p:nvSpPr>
            <p:spPr>
              <a:xfrm>
                <a:off x="3085183" y="2742685"/>
                <a:ext cx="42110" cy="6957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9200" y="14400"/>
                    </a:moveTo>
                    <a:cubicBezTo>
                      <a:pt x="12000" y="14400"/>
                      <a:pt x="12000" y="14400"/>
                      <a:pt x="12000" y="14400"/>
                    </a:cubicBezTo>
                    <a:cubicBezTo>
                      <a:pt x="13200" y="16560"/>
                      <a:pt x="14400" y="19440"/>
                      <a:pt x="16800" y="20160"/>
                    </a:cubicBezTo>
                    <a:cubicBezTo>
                      <a:pt x="16800" y="21600"/>
                      <a:pt x="16800" y="21600"/>
                      <a:pt x="16800" y="21600"/>
                    </a:cubicBezTo>
                    <a:cubicBezTo>
                      <a:pt x="15600" y="21600"/>
                      <a:pt x="13200" y="21600"/>
                      <a:pt x="12000" y="21600"/>
                    </a:cubicBezTo>
                    <a:cubicBezTo>
                      <a:pt x="8400" y="21600"/>
                      <a:pt x="8400" y="19440"/>
                      <a:pt x="9600" y="18000"/>
                    </a:cubicBezTo>
                    <a:cubicBezTo>
                      <a:pt x="9600" y="16560"/>
                      <a:pt x="9600" y="16560"/>
                      <a:pt x="9600" y="16560"/>
                    </a:cubicBezTo>
                    <a:cubicBezTo>
                      <a:pt x="6000" y="16560"/>
                      <a:pt x="3600" y="13680"/>
                      <a:pt x="2400" y="12240"/>
                    </a:cubicBezTo>
                    <a:cubicBezTo>
                      <a:pt x="2400" y="10800"/>
                      <a:pt x="2400" y="10800"/>
                      <a:pt x="2400" y="10800"/>
                    </a:cubicBezTo>
                    <a:cubicBezTo>
                      <a:pt x="4800" y="10800"/>
                      <a:pt x="8400" y="10800"/>
                      <a:pt x="9600" y="10800"/>
                    </a:cubicBezTo>
                    <a:cubicBezTo>
                      <a:pt x="9600" y="10800"/>
                      <a:pt x="12000" y="10080"/>
                      <a:pt x="12000" y="9360"/>
                    </a:cubicBezTo>
                    <a:cubicBezTo>
                      <a:pt x="12000" y="5760"/>
                      <a:pt x="1200" y="3600"/>
                      <a:pt x="0" y="1440"/>
                    </a:cubicBezTo>
                    <a:cubicBezTo>
                      <a:pt x="1200" y="720"/>
                      <a:pt x="3600" y="0"/>
                      <a:pt x="4800" y="0"/>
                    </a:cubicBezTo>
                    <a:cubicBezTo>
                      <a:pt x="8400" y="0"/>
                      <a:pt x="10800" y="1440"/>
                      <a:pt x="15600" y="1440"/>
                    </a:cubicBezTo>
                    <a:cubicBezTo>
                      <a:pt x="15600" y="2160"/>
                      <a:pt x="15600" y="3600"/>
                      <a:pt x="15600" y="4320"/>
                    </a:cubicBezTo>
                    <a:cubicBezTo>
                      <a:pt x="15600" y="4320"/>
                      <a:pt x="16800" y="4320"/>
                      <a:pt x="18000" y="4320"/>
                    </a:cubicBezTo>
                    <a:cubicBezTo>
                      <a:pt x="18000" y="5760"/>
                      <a:pt x="18000" y="8640"/>
                      <a:pt x="18000" y="8640"/>
                    </a:cubicBezTo>
                    <a:cubicBezTo>
                      <a:pt x="18000" y="8640"/>
                      <a:pt x="21600" y="10800"/>
                      <a:pt x="21600" y="10800"/>
                    </a:cubicBezTo>
                    <a:cubicBezTo>
                      <a:pt x="21600" y="12960"/>
                      <a:pt x="20400" y="13680"/>
                      <a:pt x="19200" y="1440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95" name="îṡļíḍè"/>
              <p:cNvSpPr/>
              <p:nvPr/>
            </p:nvSpPr>
            <p:spPr>
              <a:xfrm>
                <a:off x="3023423" y="2761414"/>
                <a:ext cx="33688" cy="4281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4629" y="1137"/>
                    </a:moveTo>
                    <a:cubicBezTo>
                      <a:pt x="6171" y="3411"/>
                      <a:pt x="21600" y="4547"/>
                      <a:pt x="21600" y="7958"/>
                    </a:cubicBezTo>
                    <a:cubicBezTo>
                      <a:pt x="21600" y="15916"/>
                      <a:pt x="7714" y="19326"/>
                      <a:pt x="1543" y="21600"/>
                    </a:cubicBezTo>
                    <a:cubicBezTo>
                      <a:pt x="1543" y="14779"/>
                      <a:pt x="0" y="6821"/>
                      <a:pt x="0" y="2274"/>
                    </a:cubicBezTo>
                    <a:cubicBezTo>
                      <a:pt x="0" y="1137"/>
                      <a:pt x="3086" y="0"/>
                      <a:pt x="3086" y="0"/>
                    </a:cubicBezTo>
                    <a:cubicBezTo>
                      <a:pt x="4629" y="0"/>
                      <a:pt x="6171" y="2274"/>
                      <a:pt x="7714" y="2274"/>
                    </a:cubicBezTo>
                    <a:lnTo>
                      <a:pt x="4629" y="1137"/>
                    </a:ln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96" name="ïṣ1ïďè"/>
              <p:cNvSpPr/>
              <p:nvPr/>
            </p:nvSpPr>
            <p:spPr>
              <a:xfrm>
                <a:off x="3040266" y="2789959"/>
                <a:ext cx="33688" cy="5173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0879" extrusionOk="0">
                    <a:moveTo>
                      <a:pt x="21600" y="3779"/>
                    </a:moveTo>
                    <a:cubicBezTo>
                      <a:pt x="21600" y="8279"/>
                      <a:pt x="15429" y="10979"/>
                      <a:pt x="13886" y="14579"/>
                    </a:cubicBezTo>
                    <a:cubicBezTo>
                      <a:pt x="13886" y="18179"/>
                      <a:pt x="16971" y="17279"/>
                      <a:pt x="16971" y="19079"/>
                    </a:cubicBezTo>
                    <a:cubicBezTo>
                      <a:pt x="16971" y="19979"/>
                      <a:pt x="15429" y="20879"/>
                      <a:pt x="13886" y="20879"/>
                    </a:cubicBezTo>
                    <a:cubicBezTo>
                      <a:pt x="10800" y="20879"/>
                      <a:pt x="0" y="14579"/>
                      <a:pt x="0" y="11879"/>
                    </a:cubicBezTo>
                    <a:cubicBezTo>
                      <a:pt x="0" y="10979"/>
                      <a:pt x="4629" y="10079"/>
                      <a:pt x="6171" y="10079"/>
                    </a:cubicBezTo>
                    <a:cubicBezTo>
                      <a:pt x="6171" y="9179"/>
                      <a:pt x="9257" y="179"/>
                      <a:pt x="12343" y="179"/>
                    </a:cubicBezTo>
                    <a:cubicBezTo>
                      <a:pt x="18514" y="-721"/>
                      <a:pt x="21600" y="1979"/>
                      <a:pt x="21600" y="3779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97" name="iṧ1îḋê"/>
              <p:cNvSpPr/>
              <p:nvPr/>
            </p:nvSpPr>
            <p:spPr>
              <a:xfrm>
                <a:off x="3071147" y="2790849"/>
                <a:ext cx="14038" cy="3478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0"/>
                    </a:moveTo>
                    <a:cubicBezTo>
                      <a:pt x="21600" y="10080"/>
                      <a:pt x="6171" y="12960"/>
                      <a:pt x="6171" y="21600"/>
                    </a:cubicBezTo>
                    <a:cubicBezTo>
                      <a:pt x="6171" y="21600"/>
                      <a:pt x="0" y="21600"/>
                      <a:pt x="0" y="21600"/>
                    </a:cubicBezTo>
                    <a:cubicBezTo>
                      <a:pt x="3086" y="14400"/>
                      <a:pt x="12343" y="10080"/>
                      <a:pt x="12343" y="0"/>
                    </a:cubicBezTo>
                    <a:cubicBezTo>
                      <a:pt x="15429" y="0"/>
                      <a:pt x="18514" y="0"/>
                      <a:pt x="21600" y="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98" name="íŝļiḍe"/>
              <p:cNvSpPr/>
              <p:nvPr/>
            </p:nvSpPr>
            <p:spPr>
              <a:xfrm>
                <a:off x="3079568" y="2812255"/>
                <a:ext cx="19653" cy="1873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0"/>
                    </a:moveTo>
                    <a:cubicBezTo>
                      <a:pt x="21600" y="10800"/>
                      <a:pt x="16200" y="21600"/>
                      <a:pt x="5400" y="21600"/>
                    </a:cubicBezTo>
                    <a:cubicBezTo>
                      <a:pt x="2700" y="21600"/>
                      <a:pt x="0" y="16200"/>
                      <a:pt x="0" y="16200"/>
                    </a:cubicBezTo>
                    <a:cubicBezTo>
                      <a:pt x="0" y="8100"/>
                      <a:pt x="5400" y="5400"/>
                      <a:pt x="8100" y="0"/>
                    </a:cubicBezTo>
                    <a:cubicBezTo>
                      <a:pt x="13500" y="2700"/>
                      <a:pt x="18900" y="2700"/>
                      <a:pt x="21600" y="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99" name="íşľiḍe"/>
              <p:cNvSpPr/>
              <p:nvPr/>
            </p:nvSpPr>
            <p:spPr>
              <a:xfrm>
                <a:off x="3057110" y="2742685"/>
                <a:ext cx="22459" cy="2586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18981" extrusionOk="0">
                    <a:moveTo>
                      <a:pt x="0" y="10800"/>
                    </a:moveTo>
                    <a:cubicBezTo>
                      <a:pt x="0" y="5400"/>
                      <a:pt x="0" y="3600"/>
                      <a:pt x="0" y="0"/>
                    </a:cubicBezTo>
                    <a:cubicBezTo>
                      <a:pt x="8640" y="0"/>
                      <a:pt x="8640" y="0"/>
                      <a:pt x="8640" y="0"/>
                    </a:cubicBezTo>
                    <a:cubicBezTo>
                      <a:pt x="10800" y="7200"/>
                      <a:pt x="21600" y="9000"/>
                      <a:pt x="21600" y="18000"/>
                    </a:cubicBezTo>
                    <a:cubicBezTo>
                      <a:pt x="21600" y="21600"/>
                      <a:pt x="12960" y="14400"/>
                      <a:pt x="12960" y="10800"/>
                    </a:cubicBezTo>
                    <a:cubicBezTo>
                      <a:pt x="8640" y="9000"/>
                      <a:pt x="4320" y="10800"/>
                      <a:pt x="0" y="1080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160" name="îṡľïḓé"/>
              <p:cNvSpPr/>
              <p:nvPr/>
            </p:nvSpPr>
            <p:spPr>
              <a:xfrm>
                <a:off x="2978506" y="2715927"/>
                <a:ext cx="32040" cy="3478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0543" h="21600" extrusionOk="0">
                    <a:moveTo>
                      <a:pt x="15840" y="21600"/>
                    </a:moveTo>
                    <a:cubicBezTo>
                      <a:pt x="12960" y="21600"/>
                      <a:pt x="0" y="0"/>
                      <a:pt x="0" y="0"/>
                    </a:cubicBezTo>
                    <a:cubicBezTo>
                      <a:pt x="5760" y="0"/>
                      <a:pt x="5760" y="0"/>
                      <a:pt x="5760" y="0"/>
                    </a:cubicBezTo>
                    <a:cubicBezTo>
                      <a:pt x="11520" y="4320"/>
                      <a:pt x="18720" y="2880"/>
                      <a:pt x="20160" y="10080"/>
                    </a:cubicBezTo>
                    <a:cubicBezTo>
                      <a:pt x="21600" y="14400"/>
                      <a:pt x="18720" y="21600"/>
                      <a:pt x="15840" y="2160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163" name="ïṩľîḑè"/>
              <p:cNvSpPr/>
              <p:nvPr/>
            </p:nvSpPr>
            <p:spPr>
              <a:xfrm>
                <a:off x="3010960" y="2715769"/>
                <a:ext cx="13697" cy="1369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cubicBezTo>
                      <a:pt x="5400" y="21600"/>
                      <a:pt x="16200" y="21600"/>
                      <a:pt x="21600" y="21600"/>
                    </a:cubicBezTo>
                    <a:cubicBezTo>
                      <a:pt x="16200" y="0"/>
                      <a:pt x="5400" y="0"/>
                      <a:pt x="0" y="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164" name="îṩľîḓê"/>
              <p:cNvSpPr/>
              <p:nvPr/>
            </p:nvSpPr>
            <p:spPr>
              <a:xfrm>
                <a:off x="2963959" y="2365397"/>
                <a:ext cx="48019" cy="8562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6064" h="21600" extrusionOk="0">
                    <a:moveTo>
                      <a:pt x="5632" y="21600"/>
                    </a:moveTo>
                    <a:cubicBezTo>
                      <a:pt x="-768" y="21600"/>
                      <a:pt x="32" y="18277"/>
                      <a:pt x="32" y="14400"/>
                    </a:cubicBezTo>
                    <a:cubicBezTo>
                      <a:pt x="32" y="9415"/>
                      <a:pt x="7232" y="0"/>
                      <a:pt x="12032" y="0"/>
                    </a:cubicBezTo>
                    <a:cubicBezTo>
                      <a:pt x="20832" y="0"/>
                      <a:pt x="13632" y="21600"/>
                      <a:pt x="5632" y="2160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165" name="îŝḷïḍe"/>
              <p:cNvSpPr/>
              <p:nvPr/>
            </p:nvSpPr>
            <p:spPr>
              <a:xfrm>
                <a:off x="2621793" y="2517918"/>
                <a:ext cx="70373" cy="5886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0826" h="21600" extrusionOk="0">
                    <a:moveTo>
                      <a:pt x="620" y="8800"/>
                    </a:moveTo>
                    <a:cubicBezTo>
                      <a:pt x="2710" y="8800"/>
                      <a:pt x="13161" y="0"/>
                      <a:pt x="17342" y="0"/>
                    </a:cubicBezTo>
                    <a:cubicBezTo>
                      <a:pt x="18736" y="0"/>
                      <a:pt x="20826" y="3200"/>
                      <a:pt x="20826" y="5600"/>
                    </a:cubicBezTo>
                    <a:cubicBezTo>
                      <a:pt x="20826" y="10400"/>
                      <a:pt x="11768" y="21600"/>
                      <a:pt x="6891" y="21600"/>
                    </a:cubicBezTo>
                    <a:cubicBezTo>
                      <a:pt x="2710" y="21600"/>
                      <a:pt x="620" y="19200"/>
                      <a:pt x="620" y="14400"/>
                    </a:cubicBezTo>
                    <a:cubicBezTo>
                      <a:pt x="620" y="12000"/>
                      <a:pt x="-774" y="8800"/>
                      <a:pt x="620" y="880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166" name="íṩ1íďè"/>
              <p:cNvSpPr/>
              <p:nvPr/>
            </p:nvSpPr>
            <p:spPr>
              <a:xfrm>
                <a:off x="2301957" y="2424265"/>
                <a:ext cx="345295" cy="63148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63" y="13174"/>
                    </a:moveTo>
                    <a:cubicBezTo>
                      <a:pt x="2351" y="12638"/>
                      <a:pt x="2498" y="12255"/>
                      <a:pt x="3086" y="11643"/>
                    </a:cubicBezTo>
                    <a:cubicBezTo>
                      <a:pt x="3233" y="11489"/>
                      <a:pt x="3673" y="11413"/>
                      <a:pt x="3673" y="11260"/>
                    </a:cubicBezTo>
                    <a:cubicBezTo>
                      <a:pt x="3673" y="10953"/>
                      <a:pt x="2792" y="9421"/>
                      <a:pt x="2204" y="9115"/>
                    </a:cubicBezTo>
                    <a:cubicBezTo>
                      <a:pt x="1763" y="8885"/>
                      <a:pt x="1176" y="8732"/>
                      <a:pt x="1176" y="8349"/>
                    </a:cubicBezTo>
                    <a:cubicBezTo>
                      <a:pt x="1176" y="8272"/>
                      <a:pt x="1176" y="8196"/>
                      <a:pt x="1176" y="8043"/>
                    </a:cubicBezTo>
                    <a:cubicBezTo>
                      <a:pt x="1176" y="8119"/>
                      <a:pt x="1176" y="8119"/>
                      <a:pt x="1176" y="8119"/>
                    </a:cubicBezTo>
                    <a:cubicBezTo>
                      <a:pt x="1322" y="8043"/>
                      <a:pt x="1763" y="7660"/>
                      <a:pt x="1763" y="7353"/>
                    </a:cubicBezTo>
                    <a:cubicBezTo>
                      <a:pt x="1763" y="6970"/>
                      <a:pt x="1763" y="6281"/>
                      <a:pt x="1322" y="5898"/>
                    </a:cubicBezTo>
                    <a:cubicBezTo>
                      <a:pt x="882" y="5591"/>
                      <a:pt x="0" y="5591"/>
                      <a:pt x="0" y="4979"/>
                    </a:cubicBezTo>
                    <a:cubicBezTo>
                      <a:pt x="0" y="4366"/>
                      <a:pt x="441" y="3906"/>
                      <a:pt x="1176" y="3600"/>
                    </a:cubicBezTo>
                    <a:cubicBezTo>
                      <a:pt x="1469" y="3370"/>
                      <a:pt x="2204" y="3447"/>
                      <a:pt x="2792" y="3294"/>
                    </a:cubicBezTo>
                    <a:cubicBezTo>
                      <a:pt x="4261" y="2757"/>
                      <a:pt x="5290" y="2528"/>
                      <a:pt x="6612" y="1455"/>
                    </a:cubicBezTo>
                    <a:cubicBezTo>
                      <a:pt x="6906" y="1455"/>
                      <a:pt x="6906" y="1455"/>
                      <a:pt x="6906" y="1455"/>
                    </a:cubicBezTo>
                    <a:cubicBezTo>
                      <a:pt x="6906" y="1762"/>
                      <a:pt x="7200" y="1838"/>
                      <a:pt x="7347" y="1838"/>
                    </a:cubicBezTo>
                    <a:cubicBezTo>
                      <a:pt x="7494" y="1838"/>
                      <a:pt x="7641" y="1685"/>
                      <a:pt x="7641" y="1532"/>
                    </a:cubicBezTo>
                    <a:cubicBezTo>
                      <a:pt x="7641" y="1226"/>
                      <a:pt x="7641" y="996"/>
                      <a:pt x="7641" y="689"/>
                    </a:cubicBezTo>
                    <a:cubicBezTo>
                      <a:pt x="7641" y="689"/>
                      <a:pt x="9110" y="460"/>
                      <a:pt x="9404" y="460"/>
                    </a:cubicBezTo>
                    <a:cubicBezTo>
                      <a:pt x="11461" y="460"/>
                      <a:pt x="11461" y="460"/>
                      <a:pt x="11461" y="460"/>
                    </a:cubicBezTo>
                    <a:cubicBezTo>
                      <a:pt x="12343" y="689"/>
                      <a:pt x="13078" y="0"/>
                      <a:pt x="14106" y="0"/>
                    </a:cubicBezTo>
                    <a:cubicBezTo>
                      <a:pt x="15135" y="0"/>
                      <a:pt x="15722" y="383"/>
                      <a:pt x="16898" y="383"/>
                    </a:cubicBezTo>
                    <a:cubicBezTo>
                      <a:pt x="16898" y="1226"/>
                      <a:pt x="18073" y="1532"/>
                      <a:pt x="19102" y="1685"/>
                    </a:cubicBezTo>
                    <a:cubicBezTo>
                      <a:pt x="17780" y="2757"/>
                      <a:pt x="14694" y="2987"/>
                      <a:pt x="14694" y="4443"/>
                    </a:cubicBezTo>
                    <a:cubicBezTo>
                      <a:pt x="14694" y="4749"/>
                      <a:pt x="14988" y="4826"/>
                      <a:pt x="15282" y="4902"/>
                    </a:cubicBezTo>
                    <a:cubicBezTo>
                      <a:pt x="16751" y="5668"/>
                      <a:pt x="17339" y="6587"/>
                      <a:pt x="18955" y="7123"/>
                    </a:cubicBezTo>
                    <a:cubicBezTo>
                      <a:pt x="20571" y="7660"/>
                      <a:pt x="21600" y="9115"/>
                      <a:pt x="21600" y="10264"/>
                    </a:cubicBezTo>
                    <a:cubicBezTo>
                      <a:pt x="21600" y="11030"/>
                      <a:pt x="20865" y="11336"/>
                      <a:pt x="20865" y="11949"/>
                    </a:cubicBezTo>
                    <a:cubicBezTo>
                      <a:pt x="18661" y="12255"/>
                      <a:pt x="18514" y="12562"/>
                      <a:pt x="16898" y="13021"/>
                    </a:cubicBezTo>
                    <a:cubicBezTo>
                      <a:pt x="16016" y="13251"/>
                      <a:pt x="16163" y="13787"/>
                      <a:pt x="15429" y="13787"/>
                    </a:cubicBezTo>
                    <a:cubicBezTo>
                      <a:pt x="15282" y="13787"/>
                      <a:pt x="15282" y="13557"/>
                      <a:pt x="15282" y="13481"/>
                    </a:cubicBezTo>
                    <a:cubicBezTo>
                      <a:pt x="15282" y="13711"/>
                      <a:pt x="15282" y="13787"/>
                      <a:pt x="15282" y="13864"/>
                    </a:cubicBezTo>
                    <a:cubicBezTo>
                      <a:pt x="15282" y="14170"/>
                      <a:pt x="13959" y="14706"/>
                      <a:pt x="13665" y="14706"/>
                    </a:cubicBezTo>
                    <a:cubicBezTo>
                      <a:pt x="13371" y="14706"/>
                      <a:pt x="13224" y="14247"/>
                      <a:pt x="13224" y="14017"/>
                    </a:cubicBezTo>
                    <a:cubicBezTo>
                      <a:pt x="13224" y="13711"/>
                      <a:pt x="13224" y="13634"/>
                      <a:pt x="13371" y="13557"/>
                    </a:cubicBezTo>
                    <a:cubicBezTo>
                      <a:pt x="13224" y="13481"/>
                      <a:pt x="13078" y="13174"/>
                      <a:pt x="12931" y="13021"/>
                    </a:cubicBezTo>
                    <a:cubicBezTo>
                      <a:pt x="12049" y="13021"/>
                      <a:pt x="10727" y="12868"/>
                      <a:pt x="10727" y="12332"/>
                    </a:cubicBezTo>
                    <a:cubicBezTo>
                      <a:pt x="9257" y="12332"/>
                      <a:pt x="9992" y="11872"/>
                      <a:pt x="9257" y="11413"/>
                    </a:cubicBezTo>
                    <a:cubicBezTo>
                      <a:pt x="8229" y="10953"/>
                      <a:pt x="7347" y="10953"/>
                      <a:pt x="6318" y="10800"/>
                    </a:cubicBezTo>
                    <a:cubicBezTo>
                      <a:pt x="6171" y="10800"/>
                      <a:pt x="6024" y="10340"/>
                      <a:pt x="6024" y="10340"/>
                    </a:cubicBezTo>
                    <a:cubicBezTo>
                      <a:pt x="5878" y="9957"/>
                      <a:pt x="4996" y="9881"/>
                      <a:pt x="4408" y="9881"/>
                    </a:cubicBezTo>
                    <a:cubicBezTo>
                      <a:pt x="3820" y="9881"/>
                      <a:pt x="3967" y="10111"/>
                      <a:pt x="3967" y="10264"/>
                    </a:cubicBezTo>
                    <a:cubicBezTo>
                      <a:pt x="3967" y="10570"/>
                      <a:pt x="4261" y="10647"/>
                      <a:pt x="4261" y="10877"/>
                    </a:cubicBezTo>
                    <a:cubicBezTo>
                      <a:pt x="4261" y="11949"/>
                      <a:pt x="2351" y="12179"/>
                      <a:pt x="2351" y="13098"/>
                    </a:cubicBezTo>
                    <a:cubicBezTo>
                      <a:pt x="2351" y="14170"/>
                      <a:pt x="4555" y="13711"/>
                      <a:pt x="4555" y="14706"/>
                    </a:cubicBezTo>
                    <a:cubicBezTo>
                      <a:pt x="4408" y="14706"/>
                      <a:pt x="4408" y="14706"/>
                      <a:pt x="4408" y="14706"/>
                    </a:cubicBezTo>
                    <a:cubicBezTo>
                      <a:pt x="4702" y="14936"/>
                      <a:pt x="4702" y="15549"/>
                      <a:pt x="5143" y="15779"/>
                    </a:cubicBezTo>
                    <a:cubicBezTo>
                      <a:pt x="6906" y="16698"/>
                      <a:pt x="10727" y="16928"/>
                      <a:pt x="10727" y="18613"/>
                    </a:cubicBezTo>
                    <a:cubicBezTo>
                      <a:pt x="10727" y="18919"/>
                      <a:pt x="10433" y="18919"/>
                      <a:pt x="10433" y="19226"/>
                    </a:cubicBezTo>
                    <a:cubicBezTo>
                      <a:pt x="10433" y="19838"/>
                      <a:pt x="11461" y="20068"/>
                      <a:pt x="11755" y="20451"/>
                    </a:cubicBezTo>
                    <a:cubicBezTo>
                      <a:pt x="12049" y="20911"/>
                      <a:pt x="12049" y="21064"/>
                      <a:pt x="12343" y="21447"/>
                    </a:cubicBezTo>
                    <a:cubicBezTo>
                      <a:pt x="11755" y="21447"/>
                      <a:pt x="11755" y="21447"/>
                      <a:pt x="11461" y="21447"/>
                    </a:cubicBezTo>
                    <a:cubicBezTo>
                      <a:pt x="11314" y="21447"/>
                      <a:pt x="11167" y="21600"/>
                      <a:pt x="11020" y="21600"/>
                    </a:cubicBezTo>
                    <a:cubicBezTo>
                      <a:pt x="10433" y="21600"/>
                      <a:pt x="10286" y="21370"/>
                      <a:pt x="9992" y="21294"/>
                    </a:cubicBezTo>
                    <a:cubicBezTo>
                      <a:pt x="7935" y="20987"/>
                      <a:pt x="6024" y="19991"/>
                      <a:pt x="5437" y="18843"/>
                    </a:cubicBezTo>
                    <a:cubicBezTo>
                      <a:pt x="4849" y="17847"/>
                      <a:pt x="4702" y="17157"/>
                      <a:pt x="3967" y="16391"/>
                    </a:cubicBezTo>
                    <a:cubicBezTo>
                      <a:pt x="3527" y="15932"/>
                      <a:pt x="3086" y="14706"/>
                      <a:pt x="2057" y="14706"/>
                    </a:cubicBezTo>
                    <a:cubicBezTo>
                      <a:pt x="1322" y="14706"/>
                      <a:pt x="1763" y="14860"/>
                      <a:pt x="1176" y="14706"/>
                    </a:cubicBezTo>
                    <a:cubicBezTo>
                      <a:pt x="1029" y="14706"/>
                      <a:pt x="1176" y="14553"/>
                      <a:pt x="1176" y="14477"/>
                    </a:cubicBezTo>
                    <a:cubicBezTo>
                      <a:pt x="1176" y="14017"/>
                      <a:pt x="1322" y="13711"/>
                      <a:pt x="1469" y="13174"/>
                    </a:cubicBezTo>
                    <a:cubicBezTo>
                      <a:pt x="1616" y="13174"/>
                      <a:pt x="1616" y="13174"/>
                      <a:pt x="1616" y="13174"/>
                    </a:cubicBezTo>
                    <a:lnTo>
                      <a:pt x="1763" y="13174"/>
                    </a:ln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/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167" name="ïŝlïḋé"/>
              <p:cNvSpPr/>
              <p:nvPr/>
            </p:nvSpPr>
            <p:spPr>
              <a:xfrm>
                <a:off x="2526538" y="3136025"/>
                <a:ext cx="47725" cy="4281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2343" y="19326"/>
                    </a:moveTo>
                    <a:cubicBezTo>
                      <a:pt x="11314" y="19326"/>
                      <a:pt x="9257" y="13642"/>
                      <a:pt x="9257" y="12505"/>
                    </a:cubicBezTo>
                    <a:cubicBezTo>
                      <a:pt x="7200" y="7958"/>
                      <a:pt x="0" y="10232"/>
                      <a:pt x="0" y="6821"/>
                    </a:cubicBezTo>
                    <a:cubicBezTo>
                      <a:pt x="0" y="3411"/>
                      <a:pt x="6171" y="0"/>
                      <a:pt x="9257" y="0"/>
                    </a:cubicBezTo>
                    <a:cubicBezTo>
                      <a:pt x="11314" y="7958"/>
                      <a:pt x="14400" y="17053"/>
                      <a:pt x="20571" y="17053"/>
                    </a:cubicBezTo>
                    <a:cubicBezTo>
                      <a:pt x="20571" y="18189"/>
                      <a:pt x="20571" y="20463"/>
                      <a:pt x="21600" y="21600"/>
                    </a:cubicBezTo>
                    <a:cubicBezTo>
                      <a:pt x="20571" y="21600"/>
                      <a:pt x="18514" y="21600"/>
                      <a:pt x="17486" y="21600"/>
                    </a:cubicBezTo>
                    <a:cubicBezTo>
                      <a:pt x="15429" y="21600"/>
                      <a:pt x="14400" y="19326"/>
                      <a:pt x="12343" y="19326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168" name="is1íḓê"/>
              <p:cNvSpPr/>
              <p:nvPr/>
            </p:nvSpPr>
            <p:spPr>
              <a:xfrm>
                <a:off x="2600740" y="3168134"/>
                <a:ext cx="18439" cy="1873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0267" h="21600" extrusionOk="0">
                    <a:moveTo>
                      <a:pt x="1067" y="0"/>
                    </a:moveTo>
                    <a:cubicBezTo>
                      <a:pt x="3467" y="0"/>
                      <a:pt x="8267" y="0"/>
                      <a:pt x="10667" y="0"/>
                    </a:cubicBezTo>
                    <a:cubicBezTo>
                      <a:pt x="13067" y="0"/>
                      <a:pt x="17867" y="5400"/>
                      <a:pt x="20267" y="8100"/>
                    </a:cubicBezTo>
                    <a:cubicBezTo>
                      <a:pt x="20267" y="13500"/>
                      <a:pt x="15467" y="21600"/>
                      <a:pt x="8267" y="21600"/>
                    </a:cubicBezTo>
                    <a:cubicBezTo>
                      <a:pt x="1067" y="21600"/>
                      <a:pt x="1067" y="13500"/>
                      <a:pt x="1067" y="8100"/>
                    </a:cubicBezTo>
                    <a:cubicBezTo>
                      <a:pt x="1067" y="5400"/>
                      <a:pt x="-1333" y="0"/>
                      <a:pt x="1067" y="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169" name="íŝ1iḍê"/>
              <p:cNvSpPr/>
              <p:nvPr/>
            </p:nvSpPr>
            <p:spPr>
              <a:xfrm>
                <a:off x="2338450" y="3125322"/>
                <a:ext cx="16845" cy="2675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700" y="0"/>
                    </a:moveTo>
                    <a:cubicBezTo>
                      <a:pt x="13500" y="7200"/>
                      <a:pt x="21600" y="12600"/>
                      <a:pt x="21600" y="21600"/>
                    </a:cubicBezTo>
                    <a:cubicBezTo>
                      <a:pt x="13500" y="21600"/>
                      <a:pt x="0" y="9000"/>
                      <a:pt x="0" y="3600"/>
                    </a:cubicBezTo>
                    <a:cubicBezTo>
                      <a:pt x="0" y="1800"/>
                      <a:pt x="0" y="1800"/>
                      <a:pt x="0" y="0"/>
                    </a:cubicBezTo>
                    <a:cubicBezTo>
                      <a:pt x="8100" y="0"/>
                      <a:pt x="8100" y="0"/>
                      <a:pt x="8100" y="0"/>
                    </a:cubicBezTo>
                    <a:cubicBezTo>
                      <a:pt x="8100" y="1800"/>
                      <a:pt x="8100" y="3600"/>
                      <a:pt x="8100" y="3600"/>
                    </a:cubicBezTo>
                    <a:lnTo>
                      <a:pt x="2700" y="0"/>
                    </a:ln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170" name="îṧlîḑé"/>
              <p:cNvSpPr/>
              <p:nvPr/>
            </p:nvSpPr>
            <p:spPr>
              <a:xfrm>
                <a:off x="2299148" y="3063779"/>
                <a:ext cx="21533" cy="2675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6567" h="21600" extrusionOk="0">
                    <a:moveTo>
                      <a:pt x="3600" y="0"/>
                    </a:moveTo>
                    <a:cubicBezTo>
                      <a:pt x="9000" y="3927"/>
                      <a:pt x="21600" y="21600"/>
                      <a:pt x="14400" y="21600"/>
                    </a:cubicBezTo>
                    <a:cubicBezTo>
                      <a:pt x="10800" y="21600"/>
                      <a:pt x="1800" y="7855"/>
                      <a:pt x="0" y="1964"/>
                    </a:cubicBezTo>
                    <a:cubicBezTo>
                      <a:pt x="0" y="1964"/>
                      <a:pt x="0" y="1964"/>
                      <a:pt x="0" y="1964"/>
                    </a:cubicBezTo>
                    <a:lnTo>
                      <a:pt x="3600" y="0"/>
                    </a:ln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171" name="íṣḻíḑè"/>
              <p:cNvSpPr/>
              <p:nvPr/>
            </p:nvSpPr>
            <p:spPr>
              <a:xfrm>
                <a:off x="3245197" y="2100495"/>
                <a:ext cx="72990" cy="8295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8640" y="12843"/>
                    </a:moveTo>
                    <a:cubicBezTo>
                      <a:pt x="10080" y="9341"/>
                      <a:pt x="10080" y="9341"/>
                      <a:pt x="10080" y="9341"/>
                    </a:cubicBezTo>
                    <a:cubicBezTo>
                      <a:pt x="7920" y="8757"/>
                      <a:pt x="7920" y="7005"/>
                      <a:pt x="7200" y="5838"/>
                    </a:cubicBezTo>
                    <a:cubicBezTo>
                      <a:pt x="7200" y="6422"/>
                      <a:pt x="6480" y="7589"/>
                      <a:pt x="7200" y="8173"/>
                    </a:cubicBezTo>
                    <a:cubicBezTo>
                      <a:pt x="5760" y="8173"/>
                      <a:pt x="4320" y="9341"/>
                      <a:pt x="3600" y="9341"/>
                    </a:cubicBezTo>
                    <a:cubicBezTo>
                      <a:pt x="2160" y="9341"/>
                      <a:pt x="0" y="7589"/>
                      <a:pt x="0" y="6422"/>
                    </a:cubicBezTo>
                    <a:cubicBezTo>
                      <a:pt x="0" y="4670"/>
                      <a:pt x="9360" y="0"/>
                      <a:pt x="10080" y="0"/>
                    </a:cubicBezTo>
                    <a:cubicBezTo>
                      <a:pt x="12960" y="0"/>
                      <a:pt x="14400" y="1751"/>
                      <a:pt x="18720" y="1751"/>
                    </a:cubicBezTo>
                    <a:cubicBezTo>
                      <a:pt x="18720" y="2919"/>
                      <a:pt x="18000" y="4670"/>
                      <a:pt x="18720" y="4670"/>
                    </a:cubicBezTo>
                    <a:cubicBezTo>
                      <a:pt x="21600" y="6422"/>
                      <a:pt x="21600" y="6422"/>
                      <a:pt x="21600" y="6422"/>
                    </a:cubicBezTo>
                    <a:cubicBezTo>
                      <a:pt x="21600" y="7589"/>
                      <a:pt x="20880" y="8173"/>
                      <a:pt x="21600" y="9341"/>
                    </a:cubicBezTo>
                    <a:cubicBezTo>
                      <a:pt x="20880" y="9341"/>
                      <a:pt x="19440" y="9341"/>
                      <a:pt x="18720" y="9341"/>
                    </a:cubicBezTo>
                    <a:cubicBezTo>
                      <a:pt x="18000" y="14011"/>
                      <a:pt x="15120" y="21600"/>
                      <a:pt x="10800" y="21600"/>
                    </a:cubicBezTo>
                    <a:cubicBezTo>
                      <a:pt x="10080" y="21600"/>
                      <a:pt x="10080" y="20432"/>
                      <a:pt x="10080" y="19265"/>
                    </a:cubicBezTo>
                    <a:cubicBezTo>
                      <a:pt x="10080" y="21016"/>
                      <a:pt x="10080" y="21016"/>
                      <a:pt x="10080" y="21016"/>
                    </a:cubicBezTo>
                    <a:cubicBezTo>
                      <a:pt x="7200" y="21016"/>
                      <a:pt x="5040" y="18097"/>
                      <a:pt x="5040" y="16930"/>
                    </a:cubicBezTo>
                    <a:cubicBezTo>
                      <a:pt x="5040" y="16346"/>
                      <a:pt x="8640" y="12843"/>
                      <a:pt x="8640" y="12843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172" name="îṡļiḓê"/>
              <p:cNvSpPr/>
              <p:nvPr/>
            </p:nvSpPr>
            <p:spPr>
              <a:xfrm>
                <a:off x="3329415" y="2079089"/>
                <a:ext cx="66091" cy="5084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8834" h="21600" extrusionOk="0">
                    <a:moveTo>
                      <a:pt x="15055" y="14087"/>
                    </a:moveTo>
                    <a:cubicBezTo>
                      <a:pt x="13091" y="14087"/>
                      <a:pt x="11782" y="12209"/>
                      <a:pt x="11127" y="11270"/>
                    </a:cubicBezTo>
                    <a:cubicBezTo>
                      <a:pt x="8509" y="15026"/>
                      <a:pt x="7855" y="21600"/>
                      <a:pt x="3927" y="21600"/>
                    </a:cubicBezTo>
                    <a:cubicBezTo>
                      <a:pt x="2618" y="21600"/>
                      <a:pt x="1964" y="17843"/>
                      <a:pt x="1964" y="15965"/>
                    </a:cubicBezTo>
                    <a:cubicBezTo>
                      <a:pt x="655" y="14087"/>
                      <a:pt x="0" y="13148"/>
                      <a:pt x="0" y="11270"/>
                    </a:cubicBezTo>
                    <a:cubicBezTo>
                      <a:pt x="0" y="11270"/>
                      <a:pt x="5236" y="5635"/>
                      <a:pt x="5236" y="4696"/>
                    </a:cubicBezTo>
                    <a:cubicBezTo>
                      <a:pt x="10473" y="6574"/>
                      <a:pt x="11127" y="0"/>
                      <a:pt x="15055" y="0"/>
                    </a:cubicBezTo>
                    <a:cubicBezTo>
                      <a:pt x="21600" y="0"/>
                      <a:pt x="18327" y="14087"/>
                      <a:pt x="15055" y="14087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173" name="iŝlïḓé"/>
              <p:cNvSpPr/>
              <p:nvPr/>
            </p:nvSpPr>
            <p:spPr>
              <a:xfrm>
                <a:off x="3287306" y="1851646"/>
                <a:ext cx="328451" cy="25955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8486" y="20661"/>
                    </a:moveTo>
                    <a:cubicBezTo>
                      <a:pt x="8177" y="20661"/>
                      <a:pt x="8486" y="20285"/>
                      <a:pt x="8486" y="20097"/>
                    </a:cubicBezTo>
                    <a:cubicBezTo>
                      <a:pt x="8486" y="19534"/>
                      <a:pt x="8640" y="18970"/>
                      <a:pt x="8640" y="18595"/>
                    </a:cubicBezTo>
                    <a:cubicBezTo>
                      <a:pt x="7869" y="18407"/>
                      <a:pt x="7406" y="17843"/>
                      <a:pt x="6634" y="17843"/>
                    </a:cubicBezTo>
                    <a:cubicBezTo>
                      <a:pt x="6171" y="17843"/>
                      <a:pt x="6171" y="18407"/>
                      <a:pt x="6017" y="18595"/>
                    </a:cubicBezTo>
                    <a:cubicBezTo>
                      <a:pt x="5400" y="18783"/>
                      <a:pt x="4937" y="18407"/>
                      <a:pt x="4474" y="18783"/>
                    </a:cubicBezTo>
                    <a:cubicBezTo>
                      <a:pt x="3549" y="19346"/>
                      <a:pt x="2314" y="19910"/>
                      <a:pt x="926" y="19910"/>
                    </a:cubicBezTo>
                    <a:cubicBezTo>
                      <a:pt x="463" y="19910"/>
                      <a:pt x="0" y="19910"/>
                      <a:pt x="0" y="19534"/>
                    </a:cubicBezTo>
                    <a:cubicBezTo>
                      <a:pt x="0" y="19346"/>
                      <a:pt x="617" y="19158"/>
                      <a:pt x="771" y="18970"/>
                    </a:cubicBezTo>
                    <a:cubicBezTo>
                      <a:pt x="2314" y="17843"/>
                      <a:pt x="2931" y="15777"/>
                      <a:pt x="4629" y="15777"/>
                    </a:cubicBezTo>
                    <a:cubicBezTo>
                      <a:pt x="6634" y="15777"/>
                      <a:pt x="7251" y="15777"/>
                      <a:pt x="8794" y="15777"/>
                    </a:cubicBezTo>
                    <a:cubicBezTo>
                      <a:pt x="10029" y="15777"/>
                      <a:pt x="10491" y="13148"/>
                      <a:pt x="11109" y="13148"/>
                    </a:cubicBezTo>
                    <a:cubicBezTo>
                      <a:pt x="11109" y="13148"/>
                      <a:pt x="12034" y="11270"/>
                      <a:pt x="12189" y="11082"/>
                    </a:cubicBezTo>
                    <a:cubicBezTo>
                      <a:pt x="12034" y="11457"/>
                      <a:pt x="11880" y="11645"/>
                      <a:pt x="11880" y="12021"/>
                    </a:cubicBezTo>
                    <a:cubicBezTo>
                      <a:pt x="11880" y="12209"/>
                      <a:pt x="12034" y="12397"/>
                      <a:pt x="12189" y="12397"/>
                    </a:cubicBezTo>
                    <a:cubicBezTo>
                      <a:pt x="13269" y="12397"/>
                      <a:pt x="13423" y="11645"/>
                      <a:pt x="14194" y="11270"/>
                    </a:cubicBezTo>
                    <a:cubicBezTo>
                      <a:pt x="15583" y="10706"/>
                      <a:pt x="17897" y="7325"/>
                      <a:pt x="17897" y="4696"/>
                    </a:cubicBezTo>
                    <a:cubicBezTo>
                      <a:pt x="17897" y="4132"/>
                      <a:pt x="17589" y="4132"/>
                      <a:pt x="17589" y="3569"/>
                    </a:cubicBezTo>
                    <a:cubicBezTo>
                      <a:pt x="17589" y="2630"/>
                      <a:pt x="18360" y="563"/>
                      <a:pt x="19286" y="563"/>
                    </a:cubicBezTo>
                    <a:cubicBezTo>
                      <a:pt x="19286" y="563"/>
                      <a:pt x="19286" y="1690"/>
                      <a:pt x="20057" y="751"/>
                    </a:cubicBezTo>
                    <a:cubicBezTo>
                      <a:pt x="20057" y="751"/>
                      <a:pt x="19903" y="751"/>
                      <a:pt x="19903" y="751"/>
                    </a:cubicBezTo>
                    <a:cubicBezTo>
                      <a:pt x="19749" y="751"/>
                      <a:pt x="19594" y="0"/>
                      <a:pt x="19749" y="0"/>
                    </a:cubicBezTo>
                    <a:cubicBezTo>
                      <a:pt x="20211" y="0"/>
                      <a:pt x="20520" y="188"/>
                      <a:pt x="20520" y="376"/>
                    </a:cubicBezTo>
                    <a:cubicBezTo>
                      <a:pt x="20829" y="939"/>
                      <a:pt x="20674" y="1503"/>
                      <a:pt x="20674" y="2066"/>
                    </a:cubicBezTo>
                    <a:cubicBezTo>
                      <a:pt x="20674" y="3193"/>
                      <a:pt x="21600" y="3757"/>
                      <a:pt x="21600" y="4883"/>
                    </a:cubicBezTo>
                    <a:cubicBezTo>
                      <a:pt x="21600" y="6198"/>
                      <a:pt x="20674" y="6386"/>
                      <a:pt x="20674" y="7513"/>
                    </a:cubicBezTo>
                    <a:cubicBezTo>
                      <a:pt x="20674" y="7701"/>
                      <a:pt x="20674" y="7889"/>
                      <a:pt x="20674" y="8077"/>
                    </a:cubicBezTo>
                    <a:cubicBezTo>
                      <a:pt x="20520" y="8264"/>
                      <a:pt x="20366" y="8077"/>
                      <a:pt x="20057" y="8264"/>
                    </a:cubicBezTo>
                    <a:cubicBezTo>
                      <a:pt x="19440" y="8452"/>
                      <a:pt x="19594" y="11082"/>
                      <a:pt x="19594" y="11833"/>
                    </a:cubicBezTo>
                    <a:cubicBezTo>
                      <a:pt x="19594" y="12584"/>
                      <a:pt x="18823" y="13148"/>
                      <a:pt x="18823" y="14275"/>
                    </a:cubicBezTo>
                    <a:cubicBezTo>
                      <a:pt x="18823" y="15026"/>
                      <a:pt x="19131" y="15214"/>
                      <a:pt x="19286" y="15777"/>
                    </a:cubicBezTo>
                    <a:cubicBezTo>
                      <a:pt x="18360" y="16341"/>
                      <a:pt x="18360" y="17092"/>
                      <a:pt x="17589" y="17468"/>
                    </a:cubicBezTo>
                    <a:cubicBezTo>
                      <a:pt x="17280" y="16717"/>
                      <a:pt x="17589" y="16717"/>
                      <a:pt x="17589" y="16153"/>
                    </a:cubicBezTo>
                    <a:cubicBezTo>
                      <a:pt x="16663" y="16904"/>
                      <a:pt x="16046" y="16904"/>
                      <a:pt x="15737" y="18031"/>
                    </a:cubicBezTo>
                    <a:cubicBezTo>
                      <a:pt x="15737" y="18031"/>
                      <a:pt x="15429" y="17843"/>
                      <a:pt x="15429" y="17656"/>
                    </a:cubicBezTo>
                    <a:cubicBezTo>
                      <a:pt x="14811" y="17656"/>
                      <a:pt x="14811" y="17656"/>
                      <a:pt x="14811" y="17656"/>
                    </a:cubicBezTo>
                    <a:cubicBezTo>
                      <a:pt x="14349" y="18219"/>
                      <a:pt x="14040" y="18783"/>
                      <a:pt x="13423" y="18783"/>
                    </a:cubicBezTo>
                    <a:cubicBezTo>
                      <a:pt x="12034" y="18783"/>
                      <a:pt x="12034" y="17280"/>
                      <a:pt x="11417" y="17280"/>
                    </a:cubicBezTo>
                    <a:cubicBezTo>
                      <a:pt x="11263" y="17280"/>
                      <a:pt x="11109" y="17656"/>
                      <a:pt x="11109" y="18031"/>
                    </a:cubicBezTo>
                    <a:cubicBezTo>
                      <a:pt x="11109" y="18219"/>
                      <a:pt x="11726" y="19346"/>
                      <a:pt x="11726" y="19346"/>
                    </a:cubicBezTo>
                    <a:cubicBezTo>
                      <a:pt x="11571" y="19346"/>
                      <a:pt x="11263" y="19346"/>
                      <a:pt x="11109" y="19346"/>
                    </a:cubicBezTo>
                    <a:cubicBezTo>
                      <a:pt x="10491" y="19346"/>
                      <a:pt x="9720" y="20661"/>
                      <a:pt x="9411" y="21600"/>
                    </a:cubicBezTo>
                    <a:cubicBezTo>
                      <a:pt x="8794" y="21412"/>
                      <a:pt x="8949" y="20661"/>
                      <a:pt x="8486" y="20661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174" name="ïsḻïḑé"/>
              <p:cNvSpPr/>
              <p:nvPr/>
            </p:nvSpPr>
            <p:spPr>
              <a:xfrm>
                <a:off x="3551188" y="1712505"/>
                <a:ext cx="171245" cy="13646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3300" y="11685"/>
                    </a:moveTo>
                    <a:cubicBezTo>
                      <a:pt x="3600" y="11685"/>
                      <a:pt x="4200" y="11685"/>
                      <a:pt x="4500" y="11685"/>
                    </a:cubicBezTo>
                    <a:cubicBezTo>
                      <a:pt x="6900" y="11685"/>
                      <a:pt x="7800" y="5666"/>
                      <a:pt x="7800" y="3541"/>
                    </a:cubicBezTo>
                    <a:cubicBezTo>
                      <a:pt x="7800" y="2833"/>
                      <a:pt x="6900" y="2479"/>
                      <a:pt x="6900" y="2125"/>
                    </a:cubicBezTo>
                    <a:cubicBezTo>
                      <a:pt x="6900" y="708"/>
                      <a:pt x="7500" y="354"/>
                      <a:pt x="7800" y="0"/>
                    </a:cubicBezTo>
                    <a:cubicBezTo>
                      <a:pt x="11400" y="2833"/>
                      <a:pt x="12900" y="7790"/>
                      <a:pt x="18000" y="7790"/>
                    </a:cubicBezTo>
                    <a:cubicBezTo>
                      <a:pt x="19200" y="7790"/>
                      <a:pt x="20100" y="6728"/>
                      <a:pt x="21000" y="7436"/>
                    </a:cubicBezTo>
                    <a:cubicBezTo>
                      <a:pt x="20700" y="8144"/>
                      <a:pt x="20100" y="8498"/>
                      <a:pt x="20100" y="9207"/>
                    </a:cubicBezTo>
                    <a:cubicBezTo>
                      <a:pt x="20100" y="10269"/>
                      <a:pt x="21300" y="11331"/>
                      <a:pt x="21600" y="11331"/>
                    </a:cubicBezTo>
                    <a:cubicBezTo>
                      <a:pt x="20400" y="12393"/>
                      <a:pt x="19500" y="12748"/>
                      <a:pt x="17700" y="12748"/>
                    </a:cubicBezTo>
                    <a:cubicBezTo>
                      <a:pt x="14700" y="12748"/>
                      <a:pt x="13800" y="16289"/>
                      <a:pt x="12900" y="18059"/>
                    </a:cubicBezTo>
                    <a:cubicBezTo>
                      <a:pt x="10800" y="16643"/>
                      <a:pt x="9300" y="16289"/>
                      <a:pt x="7200" y="14518"/>
                    </a:cubicBezTo>
                    <a:cubicBezTo>
                      <a:pt x="6900" y="14872"/>
                      <a:pt x="6300" y="15226"/>
                      <a:pt x="6300" y="15934"/>
                    </a:cubicBezTo>
                    <a:cubicBezTo>
                      <a:pt x="4500" y="15934"/>
                      <a:pt x="2400" y="14164"/>
                      <a:pt x="2400" y="16997"/>
                    </a:cubicBezTo>
                    <a:cubicBezTo>
                      <a:pt x="2400" y="18413"/>
                      <a:pt x="4200" y="18413"/>
                      <a:pt x="4800" y="19121"/>
                    </a:cubicBezTo>
                    <a:cubicBezTo>
                      <a:pt x="3600" y="20892"/>
                      <a:pt x="2700" y="20184"/>
                      <a:pt x="1500" y="21600"/>
                    </a:cubicBezTo>
                    <a:cubicBezTo>
                      <a:pt x="900" y="21600"/>
                      <a:pt x="900" y="21600"/>
                      <a:pt x="900" y="21600"/>
                    </a:cubicBezTo>
                    <a:cubicBezTo>
                      <a:pt x="900" y="20538"/>
                      <a:pt x="900" y="18059"/>
                      <a:pt x="900" y="18059"/>
                    </a:cubicBezTo>
                    <a:cubicBezTo>
                      <a:pt x="900" y="17351"/>
                      <a:pt x="0" y="16997"/>
                      <a:pt x="0" y="16289"/>
                    </a:cubicBezTo>
                    <a:cubicBezTo>
                      <a:pt x="0" y="14518"/>
                      <a:pt x="2400" y="13456"/>
                      <a:pt x="2400" y="12393"/>
                    </a:cubicBezTo>
                    <a:cubicBezTo>
                      <a:pt x="2400" y="11331"/>
                      <a:pt x="2400" y="11331"/>
                      <a:pt x="2400" y="11331"/>
                    </a:cubicBezTo>
                    <a:cubicBezTo>
                      <a:pt x="2700" y="11331"/>
                      <a:pt x="3000" y="11685"/>
                      <a:pt x="3600" y="12039"/>
                    </a:cubicBezTo>
                    <a:lnTo>
                      <a:pt x="3300" y="11685"/>
                    </a:ln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175" name="isḻiďe"/>
              <p:cNvSpPr/>
              <p:nvPr/>
            </p:nvSpPr>
            <p:spPr>
              <a:xfrm>
                <a:off x="3720209" y="1744614"/>
                <a:ext cx="27489" cy="2408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150" h="21600" extrusionOk="0">
                    <a:moveTo>
                      <a:pt x="17550" y="0"/>
                    </a:moveTo>
                    <a:cubicBezTo>
                      <a:pt x="21150" y="3927"/>
                      <a:pt x="21150" y="3927"/>
                      <a:pt x="21150" y="3927"/>
                    </a:cubicBezTo>
                    <a:cubicBezTo>
                      <a:pt x="17550" y="7855"/>
                      <a:pt x="8550" y="21600"/>
                      <a:pt x="1350" y="21600"/>
                    </a:cubicBezTo>
                    <a:cubicBezTo>
                      <a:pt x="-450" y="21600"/>
                      <a:pt x="-450" y="15709"/>
                      <a:pt x="1350" y="13745"/>
                    </a:cubicBezTo>
                    <a:cubicBezTo>
                      <a:pt x="4950" y="7855"/>
                      <a:pt x="13950" y="0"/>
                      <a:pt x="19350" y="0"/>
                    </a:cubicBezTo>
                    <a:lnTo>
                      <a:pt x="17550" y="0"/>
                    </a:ln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176" name="i$líḑé"/>
              <p:cNvSpPr/>
              <p:nvPr/>
            </p:nvSpPr>
            <p:spPr>
              <a:xfrm>
                <a:off x="3777054" y="1709830"/>
                <a:ext cx="38018" cy="2675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0894" h="21600" extrusionOk="0">
                    <a:moveTo>
                      <a:pt x="20894" y="5400"/>
                    </a:moveTo>
                    <a:cubicBezTo>
                      <a:pt x="8188" y="5400"/>
                      <a:pt x="8188" y="21600"/>
                      <a:pt x="565" y="21600"/>
                    </a:cubicBezTo>
                    <a:cubicBezTo>
                      <a:pt x="-706" y="21600"/>
                      <a:pt x="565" y="18000"/>
                      <a:pt x="565" y="18000"/>
                    </a:cubicBezTo>
                    <a:cubicBezTo>
                      <a:pt x="565" y="18000"/>
                      <a:pt x="5647" y="0"/>
                      <a:pt x="12000" y="0"/>
                    </a:cubicBezTo>
                    <a:cubicBezTo>
                      <a:pt x="15812" y="0"/>
                      <a:pt x="18353" y="0"/>
                      <a:pt x="20894" y="0"/>
                    </a:cubicBezTo>
                    <a:lnTo>
                      <a:pt x="20894" y="5400"/>
                    </a:ln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177" name="îŝļîḓè"/>
              <p:cNvSpPr/>
              <p:nvPr/>
            </p:nvSpPr>
            <p:spPr>
              <a:xfrm>
                <a:off x="3846576" y="1680395"/>
                <a:ext cx="21835" cy="1873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000" h="21600" extrusionOk="0">
                    <a:moveTo>
                      <a:pt x="1800" y="14400"/>
                    </a:moveTo>
                    <a:cubicBezTo>
                      <a:pt x="6600" y="14400"/>
                      <a:pt x="1800" y="9600"/>
                      <a:pt x="4200" y="7200"/>
                    </a:cubicBezTo>
                    <a:cubicBezTo>
                      <a:pt x="6600" y="0"/>
                      <a:pt x="18600" y="0"/>
                      <a:pt x="21000" y="0"/>
                    </a:cubicBezTo>
                    <a:cubicBezTo>
                      <a:pt x="18600" y="7200"/>
                      <a:pt x="11400" y="21600"/>
                      <a:pt x="1800" y="21600"/>
                    </a:cubicBezTo>
                    <a:cubicBezTo>
                      <a:pt x="-600" y="21600"/>
                      <a:pt x="-600" y="14400"/>
                      <a:pt x="1800" y="1440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178" name="íṩḻiďê"/>
              <p:cNvSpPr/>
              <p:nvPr/>
            </p:nvSpPr>
            <p:spPr>
              <a:xfrm>
                <a:off x="3607334" y="1378032"/>
                <a:ext cx="84219" cy="31039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5600" y="13148"/>
                    </a:moveTo>
                    <a:cubicBezTo>
                      <a:pt x="9000" y="13148"/>
                      <a:pt x="7800" y="15339"/>
                      <a:pt x="7800" y="17061"/>
                    </a:cubicBezTo>
                    <a:cubicBezTo>
                      <a:pt x="7800" y="18783"/>
                      <a:pt x="13200" y="19409"/>
                      <a:pt x="15600" y="20661"/>
                    </a:cubicBezTo>
                    <a:cubicBezTo>
                      <a:pt x="15600" y="20661"/>
                      <a:pt x="15000" y="20661"/>
                      <a:pt x="15000" y="20661"/>
                    </a:cubicBezTo>
                    <a:cubicBezTo>
                      <a:pt x="13800" y="20817"/>
                      <a:pt x="12600" y="20348"/>
                      <a:pt x="12000" y="20035"/>
                    </a:cubicBezTo>
                    <a:cubicBezTo>
                      <a:pt x="11400" y="20035"/>
                      <a:pt x="10200" y="20035"/>
                      <a:pt x="9600" y="20035"/>
                    </a:cubicBezTo>
                    <a:cubicBezTo>
                      <a:pt x="6600" y="20035"/>
                      <a:pt x="6600" y="21600"/>
                      <a:pt x="3000" y="21600"/>
                    </a:cubicBezTo>
                    <a:cubicBezTo>
                      <a:pt x="2400" y="21600"/>
                      <a:pt x="3000" y="19878"/>
                      <a:pt x="3000" y="19565"/>
                    </a:cubicBezTo>
                    <a:cubicBezTo>
                      <a:pt x="3000" y="18313"/>
                      <a:pt x="4200" y="17530"/>
                      <a:pt x="4200" y="16435"/>
                    </a:cubicBezTo>
                    <a:cubicBezTo>
                      <a:pt x="4200" y="15496"/>
                      <a:pt x="2400" y="15339"/>
                      <a:pt x="2400" y="14557"/>
                    </a:cubicBezTo>
                    <a:cubicBezTo>
                      <a:pt x="2400" y="13461"/>
                      <a:pt x="4200" y="13148"/>
                      <a:pt x="4200" y="12365"/>
                    </a:cubicBezTo>
                    <a:cubicBezTo>
                      <a:pt x="4200" y="10643"/>
                      <a:pt x="4200" y="10017"/>
                      <a:pt x="4200" y="8296"/>
                    </a:cubicBezTo>
                    <a:cubicBezTo>
                      <a:pt x="4200" y="7200"/>
                      <a:pt x="0" y="6887"/>
                      <a:pt x="0" y="5791"/>
                    </a:cubicBezTo>
                    <a:cubicBezTo>
                      <a:pt x="0" y="4383"/>
                      <a:pt x="1800" y="2504"/>
                      <a:pt x="5400" y="2348"/>
                    </a:cubicBezTo>
                    <a:cubicBezTo>
                      <a:pt x="5400" y="1878"/>
                      <a:pt x="6600" y="1722"/>
                      <a:pt x="6600" y="1409"/>
                    </a:cubicBezTo>
                    <a:cubicBezTo>
                      <a:pt x="6600" y="626"/>
                      <a:pt x="6600" y="470"/>
                      <a:pt x="6600" y="0"/>
                    </a:cubicBezTo>
                    <a:cubicBezTo>
                      <a:pt x="7200" y="0"/>
                      <a:pt x="7800" y="0"/>
                      <a:pt x="8400" y="0"/>
                    </a:cubicBezTo>
                    <a:cubicBezTo>
                      <a:pt x="8400" y="1252"/>
                      <a:pt x="10800" y="2191"/>
                      <a:pt x="11400" y="3130"/>
                    </a:cubicBezTo>
                    <a:cubicBezTo>
                      <a:pt x="12600" y="4070"/>
                      <a:pt x="10800" y="4696"/>
                      <a:pt x="12600" y="5791"/>
                    </a:cubicBezTo>
                    <a:cubicBezTo>
                      <a:pt x="12600" y="7357"/>
                      <a:pt x="12600" y="7357"/>
                      <a:pt x="12600" y="7357"/>
                    </a:cubicBezTo>
                    <a:cubicBezTo>
                      <a:pt x="12000" y="8139"/>
                      <a:pt x="13800" y="8922"/>
                      <a:pt x="14400" y="9235"/>
                    </a:cubicBezTo>
                    <a:cubicBezTo>
                      <a:pt x="16200" y="10957"/>
                      <a:pt x="19800" y="12365"/>
                      <a:pt x="21600" y="14087"/>
                    </a:cubicBezTo>
                    <a:cubicBezTo>
                      <a:pt x="20400" y="13461"/>
                      <a:pt x="18000" y="13148"/>
                      <a:pt x="15600" y="13148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179" name="îṧ1îḓè"/>
              <p:cNvSpPr/>
              <p:nvPr/>
            </p:nvSpPr>
            <p:spPr>
              <a:xfrm>
                <a:off x="934818" y="305039"/>
                <a:ext cx="516537" cy="36123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7462" y="21600"/>
                    </a:moveTo>
                    <a:cubicBezTo>
                      <a:pt x="6480" y="20258"/>
                      <a:pt x="4909" y="19722"/>
                      <a:pt x="4909" y="17575"/>
                    </a:cubicBezTo>
                    <a:cubicBezTo>
                      <a:pt x="4909" y="13684"/>
                      <a:pt x="7953" y="9794"/>
                      <a:pt x="10113" y="8989"/>
                    </a:cubicBezTo>
                    <a:cubicBezTo>
                      <a:pt x="10898" y="8586"/>
                      <a:pt x="11095" y="7379"/>
                      <a:pt x="12273" y="7379"/>
                    </a:cubicBezTo>
                    <a:cubicBezTo>
                      <a:pt x="12764" y="7379"/>
                      <a:pt x="12960" y="6171"/>
                      <a:pt x="13156" y="6037"/>
                    </a:cubicBezTo>
                    <a:cubicBezTo>
                      <a:pt x="14629" y="5098"/>
                      <a:pt x="15709" y="5501"/>
                      <a:pt x="17182" y="4561"/>
                    </a:cubicBezTo>
                    <a:cubicBezTo>
                      <a:pt x="18262" y="3757"/>
                      <a:pt x="21600" y="3488"/>
                      <a:pt x="21600" y="1476"/>
                    </a:cubicBezTo>
                    <a:cubicBezTo>
                      <a:pt x="21600" y="805"/>
                      <a:pt x="20422" y="0"/>
                      <a:pt x="19931" y="0"/>
                    </a:cubicBezTo>
                    <a:cubicBezTo>
                      <a:pt x="17771" y="0"/>
                      <a:pt x="15709" y="3354"/>
                      <a:pt x="13353" y="3354"/>
                    </a:cubicBezTo>
                    <a:cubicBezTo>
                      <a:pt x="12862" y="3354"/>
                      <a:pt x="12567" y="2549"/>
                      <a:pt x="12076" y="2549"/>
                    </a:cubicBezTo>
                    <a:cubicBezTo>
                      <a:pt x="11291" y="2549"/>
                      <a:pt x="11291" y="3354"/>
                      <a:pt x="10702" y="3354"/>
                    </a:cubicBezTo>
                    <a:cubicBezTo>
                      <a:pt x="9131" y="3354"/>
                      <a:pt x="7855" y="6171"/>
                      <a:pt x="6775" y="6171"/>
                    </a:cubicBezTo>
                    <a:cubicBezTo>
                      <a:pt x="6185" y="6171"/>
                      <a:pt x="5695" y="6574"/>
                      <a:pt x="5105" y="6574"/>
                    </a:cubicBezTo>
                    <a:cubicBezTo>
                      <a:pt x="4811" y="6574"/>
                      <a:pt x="4615" y="6976"/>
                      <a:pt x="4615" y="7111"/>
                    </a:cubicBezTo>
                    <a:cubicBezTo>
                      <a:pt x="4615" y="7513"/>
                      <a:pt x="4909" y="7781"/>
                      <a:pt x="4909" y="8184"/>
                    </a:cubicBezTo>
                    <a:cubicBezTo>
                      <a:pt x="4909" y="9928"/>
                      <a:pt x="2651" y="10733"/>
                      <a:pt x="2651" y="11806"/>
                    </a:cubicBezTo>
                    <a:cubicBezTo>
                      <a:pt x="2651" y="12209"/>
                      <a:pt x="3338" y="12343"/>
                      <a:pt x="3338" y="13148"/>
                    </a:cubicBezTo>
                    <a:cubicBezTo>
                      <a:pt x="2651" y="13282"/>
                      <a:pt x="1276" y="13684"/>
                      <a:pt x="1276" y="14758"/>
                    </a:cubicBezTo>
                    <a:cubicBezTo>
                      <a:pt x="1276" y="15429"/>
                      <a:pt x="1276" y="15697"/>
                      <a:pt x="1276" y="15697"/>
                    </a:cubicBezTo>
                    <a:cubicBezTo>
                      <a:pt x="1276" y="16636"/>
                      <a:pt x="0" y="16636"/>
                      <a:pt x="0" y="17978"/>
                    </a:cubicBezTo>
                    <a:cubicBezTo>
                      <a:pt x="0" y="18648"/>
                      <a:pt x="785" y="19185"/>
                      <a:pt x="785" y="19185"/>
                    </a:cubicBezTo>
                    <a:cubicBezTo>
                      <a:pt x="785" y="19185"/>
                      <a:pt x="1964" y="19185"/>
                      <a:pt x="2062" y="19185"/>
                    </a:cubicBezTo>
                    <a:cubicBezTo>
                      <a:pt x="2749" y="19453"/>
                      <a:pt x="2356" y="20393"/>
                      <a:pt x="2651" y="21198"/>
                    </a:cubicBezTo>
                    <a:cubicBezTo>
                      <a:pt x="2749" y="21600"/>
                      <a:pt x="3436" y="21198"/>
                      <a:pt x="3829" y="21198"/>
                    </a:cubicBezTo>
                    <a:cubicBezTo>
                      <a:pt x="3927" y="21198"/>
                      <a:pt x="4025" y="21600"/>
                      <a:pt x="4124" y="21600"/>
                    </a:cubicBezTo>
                    <a:cubicBezTo>
                      <a:pt x="7462" y="21600"/>
                      <a:pt x="7462" y="21600"/>
                      <a:pt x="7462" y="21600"/>
                    </a:cubicBezTo>
                    <a:cubicBezTo>
                      <a:pt x="7364" y="21332"/>
                      <a:pt x="7167" y="21063"/>
                      <a:pt x="7069" y="20929"/>
                    </a:cubicBezTo>
                    <a:lnTo>
                      <a:pt x="7462" y="21600"/>
                    </a:ln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180" name="ïṩ1íḋè"/>
              <p:cNvSpPr/>
              <p:nvPr/>
            </p:nvSpPr>
            <p:spPr>
              <a:xfrm>
                <a:off x="-1" y="267578"/>
                <a:ext cx="5036235" cy="178475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117" y="18584"/>
                    </a:moveTo>
                    <a:cubicBezTo>
                      <a:pt x="14117" y="18584"/>
                      <a:pt x="14289" y="18693"/>
                      <a:pt x="14430" y="18693"/>
                    </a:cubicBezTo>
                    <a:cubicBezTo>
                      <a:pt x="14683" y="18693"/>
                      <a:pt x="14925" y="17253"/>
                      <a:pt x="15097" y="16791"/>
                    </a:cubicBezTo>
                    <a:cubicBezTo>
                      <a:pt x="15167" y="16574"/>
                      <a:pt x="15268" y="16193"/>
                      <a:pt x="15299" y="15894"/>
                    </a:cubicBezTo>
                    <a:cubicBezTo>
                      <a:pt x="15329" y="15541"/>
                      <a:pt x="15279" y="15324"/>
                      <a:pt x="15349" y="14971"/>
                    </a:cubicBezTo>
                    <a:cubicBezTo>
                      <a:pt x="15369" y="14862"/>
                      <a:pt x="15420" y="14590"/>
                      <a:pt x="15420" y="14318"/>
                    </a:cubicBezTo>
                    <a:cubicBezTo>
                      <a:pt x="15420" y="13992"/>
                      <a:pt x="15228" y="13368"/>
                      <a:pt x="15137" y="13558"/>
                    </a:cubicBezTo>
                    <a:cubicBezTo>
                      <a:pt x="14875" y="14074"/>
                      <a:pt x="14743" y="13259"/>
                      <a:pt x="14743" y="13177"/>
                    </a:cubicBezTo>
                    <a:cubicBezTo>
                      <a:pt x="14743" y="12851"/>
                      <a:pt x="14976" y="12471"/>
                      <a:pt x="15077" y="12226"/>
                    </a:cubicBezTo>
                    <a:cubicBezTo>
                      <a:pt x="15208" y="11846"/>
                      <a:pt x="15390" y="11221"/>
                      <a:pt x="15581" y="11085"/>
                    </a:cubicBezTo>
                    <a:cubicBezTo>
                      <a:pt x="15753" y="10977"/>
                      <a:pt x="16288" y="10841"/>
                      <a:pt x="16430" y="10841"/>
                    </a:cubicBezTo>
                    <a:cubicBezTo>
                      <a:pt x="16612" y="10841"/>
                      <a:pt x="16702" y="11085"/>
                      <a:pt x="16813" y="11085"/>
                    </a:cubicBezTo>
                    <a:cubicBezTo>
                      <a:pt x="16874" y="11085"/>
                      <a:pt x="16914" y="11085"/>
                      <a:pt x="17056" y="11085"/>
                    </a:cubicBezTo>
                    <a:cubicBezTo>
                      <a:pt x="17127" y="10297"/>
                      <a:pt x="17258" y="9835"/>
                      <a:pt x="17571" y="9835"/>
                    </a:cubicBezTo>
                    <a:cubicBezTo>
                      <a:pt x="17652" y="9835"/>
                      <a:pt x="17682" y="9781"/>
                      <a:pt x="17833" y="9835"/>
                    </a:cubicBezTo>
                    <a:cubicBezTo>
                      <a:pt x="17763" y="9998"/>
                      <a:pt x="17732" y="11031"/>
                      <a:pt x="18217" y="9401"/>
                    </a:cubicBezTo>
                    <a:cubicBezTo>
                      <a:pt x="18268" y="9401"/>
                      <a:pt x="18500" y="9645"/>
                      <a:pt x="18146" y="10243"/>
                    </a:cubicBezTo>
                    <a:cubicBezTo>
                      <a:pt x="18025" y="10460"/>
                      <a:pt x="17914" y="10352"/>
                      <a:pt x="17833" y="10678"/>
                    </a:cubicBezTo>
                    <a:cubicBezTo>
                      <a:pt x="17742" y="11031"/>
                      <a:pt x="17662" y="11493"/>
                      <a:pt x="17520" y="11683"/>
                    </a:cubicBezTo>
                    <a:cubicBezTo>
                      <a:pt x="17409" y="11846"/>
                      <a:pt x="17258" y="12145"/>
                      <a:pt x="17258" y="12634"/>
                    </a:cubicBezTo>
                    <a:cubicBezTo>
                      <a:pt x="17258" y="13096"/>
                      <a:pt x="17308" y="14536"/>
                      <a:pt x="17429" y="14808"/>
                    </a:cubicBezTo>
                    <a:cubicBezTo>
                      <a:pt x="17520" y="14454"/>
                      <a:pt x="17581" y="13775"/>
                      <a:pt x="17773" y="13666"/>
                    </a:cubicBezTo>
                    <a:cubicBezTo>
                      <a:pt x="17742" y="13340"/>
                      <a:pt x="17944" y="13259"/>
                      <a:pt x="17944" y="13014"/>
                    </a:cubicBezTo>
                    <a:cubicBezTo>
                      <a:pt x="17944" y="12607"/>
                      <a:pt x="18106" y="12498"/>
                      <a:pt x="18106" y="12281"/>
                    </a:cubicBezTo>
                    <a:cubicBezTo>
                      <a:pt x="18106" y="12145"/>
                      <a:pt x="18056" y="12009"/>
                      <a:pt x="18106" y="11737"/>
                    </a:cubicBezTo>
                    <a:cubicBezTo>
                      <a:pt x="18459" y="9672"/>
                      <a:pt x="18793" y="10786"/>
                      <a:pt x="18924" y="10786"/>
                    </a:cubicBezTo>
                    <a:cubicBezTo>
                      <a:pt x="19328" y="10786"/>
                      <a:pt x="19601" y="9428"/>
                      <a:pt x="19954" y="9401"/>
                    </a:cubicBezTo>
                    <a:cubicBezTo>
                      <a:pt x="20610" y="9374"/>
                      <a:pt x="20085" y="8694"/>
                      <a:pt x="20085" y="8504"/>
                    </a:cubicBezTo>
                    <a:cubicBezTo>
                      <a:pt x="20085" y="7988"/>
                      <a:pt x="20348" y="8069"/>
                      <a:pt x="20398" y="7798"/>
                    </a:cubicBezTo>
                    <a:cubicBezTo>
                      <a:pt x="20419" y="7662"/>
                      <a:pt x="20378" y="7363"/>
                      <a:pt x="20459" y="7363"/>
                    </a:cubicBezTo>
                    <a:cubicBezTo>
                      <a:pt x="20742" y="7363"/>
                      <a:pt x="20974" y="8395"/>
                      <a:pt x="21176" y="8395"/>
                    </a:cubicBezTo>
                    <a:cubicBezTo>
                      <a:pt x="21267" y="8395"/>
                      <a:pt x="21287" y="7961"/>
                      <a:pt x="21327" y="7798"/>
                    </a:cubicBezTo>
                    <a:cubicBezTo>
                      <a:pt x="21408" y="7553"/>
                      <a:pt x="21479" y="7580"/>
                      <a:pt x="21600" y="7472"/>
                    </a:cubicBezTo>
                    <a:cubicBezTo>
                      <a:pt x="21438" y="6901"/>
                      <a:pt x="20913" y="6575"/>
                      <a:pt x="20661" y="6168"/>
                    </a:cubicBezTo>
                    <a:cubicBezTo>
                      <a:pt x="20307" y="5624"/>
                      <a:pt x="19843" y="5026"/>
                      <a:pt x="19328" y="5026"/>
                    </a:cubicBezTo>
                    <a:cubicBezTo>
                      <a:pt x="19187" y="5026"/>
                      <a:pt x="19086" y="5108"/>
                      <a:pt x="19106" y="5271"/>
                    </a:cubicBezTo>
                    <a:cubicBezTo>
                      <a:pt x="19247" y="6439"/>
                      <a:pt x="18904" y="5271"/>
                      <a:pt x="18813" y="5271"/>
                    </a:cubicBezTo>
                    <a:cubicBezTo>
                      <a:pt x="17793" y="5217"/>
                      <a:pt x="17793" y="5217"/>
                      <a:pt x="17793" y="5217"/>
                    </a:cubicBezTo>
                    <a:cubicBezTo>
                      <a:pt x="17732" y="4592"/>
                      <a:pt x="17581" y="4374"/>
                      <a:pt x="17278" y="4374"/>
                    </a:cubicBezTo>
                    <a:cubicBezTo>
                      <a:pt x="17116" y="4374"/>
                      <a:pt x="16864" y="4537"/>
                      <a:pt x="16763" y="4320"/>
                    </a:cubicBezTo>
                    <a:cubicBezTo>
                      <a:pt x="16682" y="4103"/>
                      <a:pt x="16672" y="3831"/>
                      <a:pt x="16541" y="3722"/>
                    </a:cubicBezTo>
                    <a:cubicBezTo>
                      <a:pt x="16268" y="3478"/>
                      <a:pt x="15975" y="3288"/>
                      <a:pt x="15632" y="3288"/>
                    </a:cubicBezTo>
                    <a:cubicBezTo>
                      <a:pt x="15279" y="3288"/>
                      <a:pt x="15238" y="3804"/>
                      <a:pt x="15208" y="4266"/>
                    </a:cubicBezTo>
                    <a:cubicBezTo>
                      <a:pt x="14875" y="4266"/>
                      <a:pt x="14713" y="4266"/>
                      <a:pt x="14491" y="4266"/>
                    </a:cubicBezTo>
                    <a:cubicBezTo>
                      <a:pt x="14370" y="4266"/>
                      <a:pt x="14350" y="3994"/>
                      <a:pt x="14208" y="3967"/>
                    </a:cubicBezTo>
                    <a:cubicBezTo>
                      <a:pt x="14188" y="4130"/>
                      <a:pt x="14168" y="4510"/>
                      <a:pt x="14097" y="4510"/>
                    </a:cubicBezTo>
                    <a:cubicBezTo>
                      <a:pt x="13905" y="4510"/>
                      <a:pt x="13824" y="3885"/>
                      <a:pt x="13824" y="3532"/>
                    </a:cubicBezTo>
                    <a:cubicBezTo>
                      <a:pt x="13824" y="3451"/>
                      <a:pt x="14188" y="2853"/>
                      <a:pt x="13269" y="2635"/>
                    </a:cubicBezTo>
                    <a:cubicBezTo>
                      <a:pt x="13158" y="2608"/>
                      <a:pt x="13087" y="2744"/>
                      <a:pt x="13087" y="3125"/>
                    </a:cubicBezTo>
                    <a:cubicBezTo>
                      <a:pt x="12603" y="3125"/>
                      <a:pt x="12603" y="3125"/>
                      <a:pt x="12603" y="3125"/>
                    </a:cubicBezTo>
                    <a:cubicBezTo>
                      <a:pt x="12451" y="3016"/>
                      <a:pt x="11684" y="2771"/>
                      <a:pt x="11583" y="2337"/>
                    </a:cubicBezTo>
                    <a:cubicBezTo>
                      <a:pt x="10997" y="3614"/>
                      <a:pt x="11128" y="2826"/>
                      <a:pt x="11128" y="2826"/>
                    </a:cubicBezTo>
                    <a:cubicBezTo>
                      <a:pt x="11270" y="2364"/>
                      <a:pt x="12613" y="1386"/>
                      <a:pt x="11512" y="652"/>
                    </a:cubicBezTo>
                    <a:cubicBezTo>
                      <a:pt x="11047" y="652"/>
                      <a:pt x="11047" y="652"/>
                      <a:pt x="11047" y="652"/>
                    </a:cubicBezTo>
                    <a:cubicBezTo>
                      <a:pt x="10997" y="326"/>
                      <a:pt x="10896" y="0"/>
                      <a:pt x="10704" y="0"/>
                    </a:cubicBezTo>
                    <a:cubicBezTo>
                      <a:pt x="10482" y="0"/>
                      <a:pt x="10381" y="462"/>
                      <a:pt x="10260" y="734"/>
                    </a:cubicBezTo>
                    <a:cubicBezTo>
                      <a:pt x="10179" y="897"/>
                      <a:pt x="9603" y="1522"/>
                      <a:pt x="9654" y="951"/>
                    </a:cubicBezTo>
                    <a:cubicBezTo>
                      <a:pt x="9502" y="1087"/>
                      <a:pt x="8876" y="1195"/>
                      <a:pt x="8553" y="1983"/>
                    </a:cubicBezTo>
                    <a:cubicBezTo>
                      <a:pt x="8482" y="2146"/>
                      <a:pt x="8462" y="2635"/>
                      <a:pt x="8361" y="2635"/>
                    </a:cubicBezTo>
                    <a:cubicBezTo>
                      <a:pt x="8210" y="2635"/>
                      <a:pt x="7654" y="2500"/>
                      <a:pt x="7654" y="3179"/>
                    </a:cubicBezTo>
                    <a:cubicBezTo>
                      <a:pt x="7654" y="3315"/>
                      <a:pt x="7705" y="3478"/>
                      <a:pt x="7725" y="3668"/>
                    </a:cubicBezTo>
                    <a:cubicBezTo>
                      <a:pt x="7624" y="3831"/>
                      <a:pt x="7594" y="3668"/>
                      <a:pt x="7281" y="3668"/>
                    </a:cubicBezTo>
                    <a:cubicBezTo>
                      <a:pt x="7018" y="4619"/>
                      <a:pt x="7038" y="3505"/>
                      <a:pt x="6978" y="3288"/>
                    </a:cubicBezTo>
                    <a:cubicBezTo>
                      <a:pt x="6958" y="3695"/>
                      <a:pt x="6857" y="3858"/>
                      <a:pt x="6746" y="4021"/>
                    </a:cubicBezTo>
                    <a:cubicBezTo>
                      <a:pt x="6776" y="4347"/>
                      <a:pt x="6968" y="4700"/>
                      <a:pt x="6836" y="5108"/>
                    </a:cubicBezTo>
                    <a:cubicBezTo>
                      <a:pt x="6735" y="5380"/>
                      <a:pt x="7018" y="6249"/>
                      <a:pt x="6867" y="6249"/>
                    </a:cubicBezTo>
                    <a:cubicBezTo>
                      <a:pt x="6685" y="6249"/>
                      <a:pt x="6635" y="4456"/>
                      <a:pt x="6635" y="4075"/>
                    </a:cubicBezTo>
                    <a:cubicBezTo>
                      <a:pt x="6635" y="3668"/>
                      <a:pt x="6877" y="3505"/>
                      <a:pt x="6503" y="3288"/>
                    </a:cubicBezTo>
                    <a:cubicBezTo>
                      <a:pt x="6311" y="3206"/>
                      <a:pt x="5948" y="4048"/>
                      <a:pt x="5948" y="4510"/>
                    </a:cubicBezTo>
                    <a:cubicBezTo>
                      <a:pt x="5948" y="5054"/>
                      <a:pt x="6039" y="5407"/>
                      <a:pt x="6140" y="5706"/>
                    </a:cubicBezTo>
                    <a:cubicBezTo>
                      <a:pt x="6392" y="6738"/>
                      <a:pt x="5796" y="5570"/>
                      <a:pt x="5574" y="5434"/>
                    </a:cubicBezTo>
                    <a:cubicBezTo>
                      <a:pt x="4968" y="4999"/>
                      <a:pt x="5170" y="5543"/>
                      <a:pt x="5160" y="5624"/>
                    </a:cubicBezTo>
                    <a:cubicBezTo>
                      <a:pt x="5140" y="6548"/>
                      <a:pt x="4999" y="5814"/>
                      <a:pt x="4918" y="5814"/>
                    </a:cubicBezTo>
                    <a:cubicBezTo>
                      <a:pt x="4776" y="5814"/>
                      <a:pt x="4494" y="6331"/>
                      <a:pt x="4292" y="6059"/>
                    </a:cubicBezTo>
                    <a:cubicBezTo>
                      <a:pt x="4191" y="5352"/>
                      <a:pt x="3524" y="6955"/>
                      <a:pt x="3363" y="6955"/>
                    </a:cubicBezTo>
                    <a:cubicBezTo>
                      <a:pt x="3302" y="6955"/>
                      <a:pt x="3231" y="6847"/>
                      <a:pt x="3252" y="6711"/>
                    </a:cubicBezTo>
                    <a:cubicBezTo>
                      <a:pt x="3322" y="6222"/>
                      <a:pt x="3221" y="5189"/>
                      <a:pt x="3029" y="6765"/>
                    </a:cubicBezTo>
                    <a:cubicBezTo>
                      <a:pt x="3009" y="6874"/>
                      <a:pt x="3090" y="6928"/>
                      <a:pt x="3090" y="7146"/>
                    </a:cubicBezTo>
                    <a:cubicBezTo>
                      <a:pt x="3090" y="7553"/>
                      <a:pt x="2858" y="7254"/>
                      <a:pt x="2737" y="7363"/>
                    </a:cubicBezTo>
                    <a:cubicBezTo>
                      <a:pt x="2615" y="7472"/>
                      <a:pt x="2676" y="8640"/>
                      <a:pt x="2161" y="8042"/>
                    </a:cubicBezTo>
                    <a:cubicBezTo>
                      <a:pt x="2161" y="8504"/>
                      <a:pt x="2161" y="8504"/>
                      <a:pt x="2161" y="8504"/>
                    </a:cubicBezTo>
                    <a:cubicBezTo>
                      <a:pt x="1909" y="8450"/>
                      <a:pt x="1939" y="7716"/>
                      <a:pt x="1848" y="7363"/>
                    </a:cubicBezTo>
                    <a:cubicBezTo>
                      <a:pt x="2040" y="7363"/>
                      <a:pt x="2141" y="7363"/>
                      <a:pt x="2323" y="7499"/>
                    </a:cubicBezTo>
                    <a:cubicBezTo>
                      <a:pt x="2575" y="7662"/>
                      <a:pt x="3070" y="6820"/>
                      <a:pt x="2312" y="6168"/>
                    </a:cubicBezTo>
                    <a:cubicBezTo>
                      <a:pt x="2100" y="5977"/>
                      <a:pt x="1616" y="5325"/>
                      <a:pt x="1464" y="5325"/>
                    </a:cubicBezTo>
                    <a:cubicBezTo>
                      <a:pt x="1454" y="5325"/>
                      <a:pt x="1454" y="5298"/>
                      <a:pt x="1343" y="5325"/>
                    </a:cubicBezTo>
                    <a:cubicBezTo>
                      <a:pt x="1282" y="5434"/>
                      <a:pt x="1121" y="5651"/>
                      <a:pt x="1121" y="5950"/>
                    </a:cubicBezTo>
                    <a:cubicBezTo>
                      <a:pt x="1121" y="6168"/>
                      <a:pt x="1282" y="6140"/>
                      <a:pt x="1282" y="6412"/>
                    </a:cubicBezTo>
                    <a:cubicBezTo>
                      <a:pt x="1282" y="6629"/>
                      <a:pt x="1202" y="6711"/>
                      <a:pt x="1202" y="6928"/>
                    </a:cubicBezTo>
                    <a:cubicBezTo>
                      <a:pt x="1202" y="7146"/>
                      <a:pt x="1293" y="7282"/>
                      <a:pt x="1293" y="7526"/>
                    </a:cubicBezTo>
                    <a:cubicBezTo>
                      <a:pt x="1293" y="7662"/>
                      <a:pt x="1242" y="7743"/>
                      <a:pt x="1242" y="7879"/>
                    </a:cubicBezTo>
                    <a:cubicBezTo>
                      <a:pt x="1242" y="8151"/>
                      <a:pt x="1373" y="8205"/>
                      <a:pt x="1373" y="8477"/>
                    </a:cubicBezTo>
                    <a:cubicBezTo>
                      <a:pt x="1373" y="8558"/>
                      <a:pt x="1333" y="8613"/>
                      <a:pt x="1323" y="8640"/>
                    </a:cubicBezTo>
                    <a:cubicBezTo>
                      <a:pt x="1363" y="8830"/>
                      <a:pt x="1464" y="8885"/>
                      <a:pt x="1464" y="9129"/>
                    </a:cubicBezTo>
                    <a:cubicBezTo>
                      <a:pt x="1464" y="9537"/>
                      <a:pt x="1161" y="9971"/>
                      <a:pt x="1070" y="10297"/>
                    </a:cubicBezTo>
                    <a:cubicBezTo>
                      <a:pt x="1101" y="10433"/>
                      <a:pt x="1151" y="10515"/>
                      <a:pt x="1181" y="10732"/>
                    </a:cubicBezTo>
                    <a:cubicBezTo>
                      <a:pt x="1121" y="10814"/>
                      <a:pt x="990" y="11004"/>
                      <a:pt x="929" y="11004"/>
                    </a:cubicBezTo>
                    <a:cubicBezTo>
                      <a:pt x="858" y="11004"/>
                      <a:pt x="808" y="10922"/>
                      <a:pt x="707" y="10922"/>
                    </a:cubicBezTo>
                    <a:cubicBezTo>
                      <a:pt x="616" y="10922"/>
                      <a:pt x="384" y="11140"/>
                      <a:pt x="454" y="11330"/>
                    </a:cubicBezTo>
                    <a:cubicBezTo>
                      <a:pt x="677" y="11900"/>
                      <a:pt x="565" y="12118"/>
                      <a:pt x="505" y="12118"/>
                    </a:cubicBezTo>
                    <a:cubicBezTo>
                      <a:pt x="424" y="12118"/>
                      <a:pt x="404" y="11819"/>
                      <a:pt x="333" y="11819"/>
                    </a:cubicBezTo>
                    <a:cubicBezTo>
                      <a:pt x="252" y="11819"/>
                      <a:pt x="151" y="12362"/>
                      <a:pt x="151" y="12634"/>
                    </a:cubicBezTo>
                    <a:cubicBezTo>
                      <a:pt x="151" y="13123"/>
                      <a:pt x="10" y="13042"/>
                      <a:pt x="0" y="13476"/>
                    </a:cubicBezTo>
                    <a:cubicBezTo>
                      <a:pt x="61" y="13449"/>
                      <a:pt x="111" y="13449"/>
                      <a:pt x="162" y="13449"/>
                    </a:cubicBezTo>
                    <a:cubicBezTo>
                      <a:pt x="242" y="13449"/>
                      <a:pt x="303" y="13422"/>
                      <a:pt x="394" y="13422"/>
                    </a:cubicBezTo>
                    <a:cubicBezTo>
                      <a:pt x="485" y="13422"/>
                      <a:pt x="525" y="13857"/>
                      <a:pt x="525" y="14128"/>
                    </a:cubicBezTo>
                    <a:cubicBezTo>
                      <a:pt x="525" y="14291"/>
                      <a:pt x="465" y="14373"/>
                      <a:pt x="465" y="14536"/>
                    </a:cubicBezTo>
                    <a:cubicBezTo>
                      <a:pt x="465" y="14780"/>
                      <a:pt x="545" y="14943"/>
                      <a:pt x="545" y="15161"/>
                    </a:cubicBezTo>
                    <a:cubicBezTo>
                      <a:pt x="545" y="15297"/>
                      <a:pt x="465" y="15351"/>
                      <a:pt x="444" y="15432"/>
                    </a:cubicBezTo>
                    <a:cubicBezTo>
                      <a:pt x="394" y="15650"/>
                      <a:pt x="374" y="15840"/>
                      <a:pt x="374" y="16112"/>
                    </a:cubicBezTo>
                    <a:cubicBezTo>
                      <a:pt x="374" y="16465"/>
                      <a:pt x="465" y="16383"/>
                      <a:pt x="565" y="16383"/>
                    </a:cubicBezTo>
                    <a:cubicBezTo>
                      <a:pt x="707" y="16383"/>
                      <a:pt x="778" y="16220"/>
                      <a:pt x="889" y="16220"/>
                    </a:cubicBezTo>
                    <a:cubicBezTo>
                      <a:pt x="1000" y="16220"/>
                      <a:pt x="980" y="16845"/>
                      <a:pt x="1091" y="16845"/>
                    </a:cubicBezTo>
                    <a:cubicBezTo>
                      <a:pt x="1091" y="17334"/>
                      <a:pt x="1091" y="17334"/>
                      <a:pt x="1091" y="17334"/>
                    </a:cubicBezTo>
                    <a:cubicBezTo>
                      <a:pt x="1091" y="17389"/>
                      <a:pt x="1101" y="17416"/>
                      <a:pt x="1111" y="17416"/>
                    </a:cubicBezTo>
                    <a:cubicBezTo>
                      <a:pt x="1131" y="17497"/>
                      <a:pt x="1131" y="17497"/>
                      <a:pt x="1131" y="17497"/>
                    </a:cubicBezTo>
                    <a:cubicBezTo>
                      <a:pt x="1151" y="17497"/>
                      <a:pt x="1212" y="17443"/>
                      <a:pt x="1242" y="17416"/>
                    </a:cubicBezTo>
                    <a:cubicBezTo>
                      <a:pt x="1333" y="17362"/>
                      <a:pt x="1343" y="17035"/>
                      <a:pt x="1444" y="17035"/>
                    </a:cubicBezTo>
                    <a:cubicBezTo>
                      <a:pt x="1525" y="17035"/>
                      <a:pt x="1727" y="17932"/>
                      <a:pt x="1787" y="17932"/>
                    </a:cubicBezTo>
                    <a:cubicBezTo>
                      <a:pt x="1858" y="17932"/>
                      <a:pt x="2070" y="17688"/>
                      <a:pt x="2100" y="17579"/>
                    </a:cubicBezTo>
                    <a:cubicBezTo>
                      <a:pt x="2090" y="17579"/>
                      <a:pt x="1979" y="17525"/>
                      <a:pt x="1979" y="17525"/>
                    </a:cubicBezTo>
                    <a:cubicBezTo>
                      <a:pt x="1959" y="17525"/>
                      <a:pt x="1909" y="17497"/>
                      <a:pt x="1909" y="17334"/>
                    </a:cubicBezTo>
                    <a:cubicBezTo>
                      <a:pt x="1909" y="17253"/>
                      <a:pt x="2232" y="16927"/>
                      <a:pt x="2353" y="16818"/>
                    </a:cubicBezTo>
                    <a:cubicBezTo>
                      <a:pt x="2353" y="16818"/>
                      <a:pt x="2292" y="16981"/>
                      <a:pt x="2272" y="17008"/>
                    </a:cubicBezTo>
                    <a:cubicBezTo>
                      <a:pt x="2282" y="17090"/>
                      <a:pt x="2393" y="17416"/>
                      <a:pt x="2131" y="17579"/>
                    </a:cubicBezTo>
                    <a:cubicBezTo>
                      <a:pt x="2252" y="18285"/>
                      <a:pt x="2757" y="18177"/>
                      <a:pt x="2757" y="19128"/>
                    </a:cubicBezTo>
                    <a:cubicBezTo>
                      <a:pt x="2777" y="19100"/>
                      <a:pt x="2777" y="19100"/>
                      <a:pt x="2777" y="19100"/>
                    </a:cubicBezTo>
                    <a:cubicBezTo>
                      <a:pt x="2807" y="19073"/>
                      <a:pt x="2827" y="19046"/>
                      <a:pt x="2868" y="19046"/>
                    </a:cubicBezTo>
                    <a:cubicBezTo>
                      <a:pt x="3009" y="19046"/>
                      <a:pt x="2999" y="19291"/>
                      <a:pt x="3050" y="19535"/>
                    </a:cubicBezTo>
                    <a:cubicBezTo>
                      <a:pt x="3060" y="19589"/>
                      <a:pt x="3151" y="19725"/>
                      <a:pt x="3151" y="19725"/>
                    </a:cubicBezTo>
                    <a:cubicBezTo>
                      <a:pt x="3231" y="19807"/>
                      <a:pt x="3252" y="20160"/>
                      <a:pt x="3383" y="20160"/>
                    </a:cubicBezTo>
                    <a:cubicBezTo>
                      <a:pt x="3474" y="20160"/>
                      <a:pt x="3474" y="19943"/>
                      <a:pt x="3534" y="19888"/>
                    </a:cubicBezTo>
                    <a:cubicBezTo>
                      <a:pt x="3575" y="19861"/>
                      <a:pt x="3565" y="19861"/>
                      <a:pt x="3605" y="19861"/>
                    </a:cubicBezTo>
                    <a:cubicBezTo>
                      <a:pt x="3615" y="19915"/>
                      <a:pt x="3615" y="20024"/>
                      <a:pt x="3635" y="20078"/>
                    </a:cubicBezTo>
                    <a:cubicBezTo>
                      <a:pt x="3625" y="20078"/>
                      <a:pt x="3635" y="20106"/>
                      <a:pt x="3635" y="20133"/>
                    </a:cubicBezTo>
                    <a:cubicBezTo>
                      <a:pt x="3696" y="20160"/>
                      <a:pt x="3696" y="20160"/>
                      <a:pt x="3696" y="20160"/>
                    </a:cubicBezTo>
                    <a:cubicBezTo>
                      <a:pt x="3746" y="19970"/>
                      <a:pt x="3746" y="19671"/>
                      <a:pt x="3817" y="19589"/>
                    </a:cubicBezTo>
                    <a:cubicBezTo>
                      <a:pt x="3696" y="19399"/>
                      <a:pt x="3514" y="18693"/>
                      <a:pt x="3514" y="18285"/>
                    </a:cubicBezTo>
                    <a:cubicBezTo>
                      <a:pt x="3514" y="18149"/>
                      <a:pt x="3413" y="17986"/>
                      <a:pt x="3413" y="17796"/>
                    </a:cubicBezTo>
                    <a:cubicBezTo>
                      <a:pt x="3413" y="17742"/>
                      <a:pt x="3504" y="17307"/>
                      <a:pt x="3524" y="17226"/>
                    </a:cubicBezTo>
                    <a:cubicBezTo>
                      <a:pt x="3544" y="17253"/>
                      <a:pt x="3686" y="17063"/>
                      <a:pt x="3696" y="17035"/>
                    </a:cubicBezTo>
                    <a:cubicBezTo>
                      <a:pt x="3807" y="16927"/>
                      <a:pt x="3878" y="16845"/>
                      <a:pt x="4029" y="16845"/>
                    </a:cubicBezTo>
                    <a:cubicBezTo>
                      <a:pt x="4272" y="16845"/>
                      <a:pt x="4312" y="17144"/>
                      <a:pt x="4403" y="17525"/>
                    </a:cubicBezTo>
                    <a:cubicBezTo>
                      <a:pt x="4332" y="17660"/>
                      <a:pt x="4241" y="17525"/>
                      <a:pt x="4160" y="17525"/>
                    </a:cubicBezTo>
                    <a:cubicBezTo>
                      <a:pt x="4039" y="17525"/>
                      <a:pt x="3868" y="17823"/>
                      <a:pt x="3847" y="17823"/>
                    </a:cubicBezTo>
                    <a:cubicBezTo>
                      <a:pt x="3858" y="18068"/>
                      <a:pt x="3928" y="18041"/>
                      <a:pt x="3948" y="18177"/>
                    </a:cubicBezTo>
                    <a:cubicBezTo>
                      <a:pt x="4039" y="18584"/>
                      <a:pt x="4160" y="18747"/>
                      <a:pt x="4160" y="19209"/>
                    </a:cubicBezTo>
                    <a:cubicBezTo>
                      <a:pt x="4191" y="19155"/>
                      <a:pt x="4282" y="19046"/>
                      <a:pt x="4312" y="19019"/>
                    </a:cubicBezTo>
                    <a:cubicBezTo>
                      <a:pt x="4312" y="19209"/>
                      <a:pt x="4383" y="19291"/>
                      <a:pt x="4383" y="19481"/>
                    </a:cubicBezTo>
                    <a:cubicBezTo>
                      <a:pt x="4251" y="19481"/>
                      <a:pt x="4251" y="19481"/>
                      <a:pt x="4251" y="19481"/>
                    </a:cubicBezTo>
                    <a:cubicBezTo>
                      <a:pt x="4211" y="19481"/>
                      <a:pt x="4171" y="19589"/>
                      <a:pt x="4160" y="19780"/>
                    </a:cubicBezTo>
                    <a:cubicBezTo>
                      <a:pt x="4251" y="19807"/>
                      <a:pt x="4322" y="20051"/>
                      <a:pt x="4322" y="20269"/>
                    </a:cubicBezTo>
                    <a:cubicBezTo>
                      <a:pt x="4322" y="20405"/>
                      <a:pt x="4282" y="20459"/>
                      <a:pt x="4282" y="20568"/>
                    </a:cubicBezTo>
                    <a:cubicBezTo>
                      <a:pt x="4282" y="20676"/>
                      <a:pt x="4322" y="20785"/>
                      <a:pt x="4332" y="20812"/>
                    </a:cubicBezTo>
                    <a:cubicBezTo>
                      <a:pt x="4332" y="20703"/>
                      <a:pt x="4383" y="20703"/>
                      <a:pt x="4423" y="20676"/>
                    </a:cubicBezTo>
                    <a:cubicBezTo>
                      <a:pt x="4473" y="20622"/>
                      <a:pt x="4463" y="20568"/>
                      <a:pt x="4514" y="20513"/>
                    </a:cubicBezTo>
                    <a:cubicBezTo>
                      <a:pt x="4595" y="20432"/>
                      <a:pt x="4645" y="20486"/>
                      <a:pt x="4706" y="20350"/>
                    </a:cubicBezTo>
                    <a:cubicBezTo>
                      <a:pt x="4807" y="20513"/>
                      <a:pt x="4867" y="20513"/>
                      <a:pt x="4958" y="20595"/>
                    </a:cubicBezTo>
                    <a:cubicBezTo>
                      <a:pt x="5069" y="20703"/>
                      <a:pt x="5100" y="20975"/>
                      <a:pt x="5231" y="20975"/>
                    </a:cubicBezTo>
                    <a:cubicBezTo>
                      <a:pt x="5231" y="21029"/>
                      <a:pt x="5261" y="21057"/>
                      <a:pt x="5271" y="21111"/>
                    </a:cubicBezTo>
                    <a:cubicBezTo>
                      <a:pt x="5281" y="21220"/>
                      <a:pt x="5271" y="21383"/>
                      <a:pt x="5291" y="21546"/>
                    </a:cubicBezTo>
                    <a:cubicBezTo>
                      <a:pt x="5342" y="21383"/>
                      <a:pt x="5382" y="21600"/>
                      <a:pt x="5423" y="21600"/>
                    </a:cubicBezTo>
                    <a:cubicBezTo>
                      <a:pt x="5473" y="21600"/>
                      <a:pt x="5493" y="21491"/>
                      <a:pt x="5524" y="21410"/>
                    </a:cubicBezTo>
                    <a:cubicBezTo>
                      <a:pt x="5564" y="21301"/>
                      <a:pt x="5615" y="21301"/>
                      <a:pt x="5645" y="21220"/>
                    </a:cubicBezTo>
                    <a:cubicBezTo>
                      <a:pt x="5726" y="21002"/>
                      <a:pt x="5736" y="20703"/>
                      <a:pt x="5847" y="20703"/>
                    </a:cubicBezTo>
                    <a:cubicBezTo>
                      <a:pt x="5887" y="20703"/>
                      <a:pt x="5877" y="20758"/>
                      <a:pt x="5918" y="20758"/>
                    </a:cubicBezTo>
                    <a:cubicBezTo>
                      <a:pt x="5928" y="20894"/>
                      <a:pt x="6029" y="20785"/>
                      <a:pt x="6059" y="20785"/>
                    </a:cubicBezTo>
                    <a:cubicBezTo>
                      <a:pt x="6099" y="20785"/>
                      <a:pt x="6109" y="20921"/>
                      <a:pt x="6140" y="20921"/>
                    </a:cubicBezTo>
                    <a:cubicBezTo>
                      <a:pt x="6231" y="20921"/>
                      <a:pt x="6301" y="20785"/>
                      <a:pt x="6332" y="20622"/>
                    </a:cubicBezTo>
                    <a:cubicBezTo>
                      <a:pt x="6342" y="20649"/>
                      <a:pt x="6352" y="20622"/>
                      <a:pt x="6362" y="20622"/>
                    </a:cubicBezTo>
                    <a:cubicBezTo>
                      <a:pt x="6402" y="20622"/>
                      <a:pt x="6422" y="20350"/>
                      <a:pt x="6513" y="20350"/>
                    </a:cubicBezTo>
                    <a:cubicBezTo>
                      <a:pt x="6604" y="20350"/>
                      <a:pt x="6503" y="20975"/>
                      <a:pt x="6604" y="20975"/>
                    </a:cubicBezTo>
                    <a:cubicBezTo>
                      <a:pt x="6705" y="20975"/>
                      <a:pt x="6746" y="20758"/>
                      <a:pt x="6836" y="20758"/>
                    </a:cubicBezTo>
                    <a:cubicBezTo>
                      <a:pt x="6887" y="20758"/>
                      <a:pt x="6927" y="20758"/>
                      <a:pt x="6988" y="20785"/>
                    </a:cubicBezTo>
                    <a:cubicBezTo>
                      <a:pt x="6988" y="20731"/>
                      <a:pt x="6988" y="20731"/>
                      <a:pt x="6988" y="20731"/>
                    </a:cubicBezTo>
                    <a:cubicBezTo>
                      <a:pt x="6968" y="20459"/>
                      <a:pt x="6948" y="20377"/>
                      <a:pt x="6836" y="20323"/>
                    </a:cubicBezTo>
                    <a:cubicBezTo>
                      <a:pt x="6847" y="20078"/>
                      <a:pt x="6937" y="19535"/>
                      <a:pt x="7008" y="19535"/>
                    </a:cubicBezTo>
                    <a:cubicBezTo>
                      <a:pt x="7422" y="19535"/>
                      <a:pt x="7705" y="18965"/>
                      <a:pt x="7705" y="17633"/>
                    </a:cubicBezTo>
                    <a:cubicBezTo>
                      <a:pt x="7927" y="17525"/>
                      <a:pt x="7947" y="16791"/>
                      <a:pt x="8079" y="16845"/>
                    </a:cubicBezTo>
                    <a:cubicBezTo>
                      <a:pt x="8442" y="16954"/>
                      <a:pt x="8301" y="16302"/>
                      <a:pt x="8371" y="16112"/>
                    </a:cubicBezTo>
                    <a:cubicBezTo>
                      <a:pt x="8553" y="15704"/>
                      <a:pt x="8816" y="15704"/>
                      <a:pt x="9038" y="15351"/>
                    </a:cubicBezTo>
                    <a:cubicBezTo>
                      <a:pt x="9068" y="15297"/>
                      <a:pt x="9149" y="15052"/>
                      <a:pt x="9220" y="15052"/>
                    </a:cubicBezTo>
                    <a:cubicBezTo>
                      <a:pt x="9331" y="15052"/>
                      <a:pt x="9523" y="15405"/>
                      <a:pt x="9704" y="15405"/>
                    </a:cubicBezTo>
                    <a:cubicBezTo>
                      <a:pt x="9957" y="15405"/>
                      <a:pt x="9906" y="14509"/>
                      <a:pt x="10038" y="14509"/>
                    </a:cubicBezTo>
                    <a:cubicBezTo>
                      <a:pt x="10118" y="14509"/>
                      <a:pt x="10391" y="14617"/>
                      <a:pt x="10421" y="14808"/>
                    </a:cubicBezTo>
                    <a:cubicBezTo>
                      <a:pt x="10522" y="15568"/>
                      <a:pt x="10704" y="15161"/>
                      <a:pt x="10825" y="15161"/>
                    </a:cubicBezTo>
                    <a:cubicBezTo>
                      <a:pt x="11098" y="15161"/>
                      <a:pt x="11179" y="15758"/>
                      <a:pt x="11461" y="15758"/>
                    </a:cubicBezTo>
                    <a:cubicBezTo>
                      <a:pt x="11714" y="15758"/>
                      <a:pt x="12037" y="15134"/>
                      <a:pt x="12360" y="15460"/>
                    </a:cubicBezTo>
                    <a:cubicBezTo>
                      <a:pt x="12784" y="15922"/>
                      <a:pt x="12572" y="13911"/>
                      <a:pt x="13138" y="13911"/>
                    </a:cubicBezTo>
                    <a:cubicBezTo>
                      <a:pt x="13532" y="13911"/>
                      <a:pt x="13521" y="14753"/>
                      <a:pt x="13673" y="15405"/>
                    </a:cubicBezTo>
                    <a:cubicBezTo>
                      <a:pt x="13734" y="15650"/>
                      <a:pt x="13925" y="15677"/>
                      <a:pt x="14006" y="15894"/>
                    </a:cubicBezTo>
                    <a:cubicBezTo>
                      <a:pt x="14067" y="16030"/>
                      <a:pt x="14117" y="16492"/>
                      <a:pt x="14249" y="16492"/>
                    </a:cubicBezTo>
                    <a:cubicBezTo>
                      <a:pt x="14400" y="16492"/>
                      <a:pt x="14420" y="16112"/>
                      <a:pt x="14602" y="16112"/>
                    </a:cubicBezTo>
                    <a:cubicBezTo>
                      <a:pt x="14602" y="16411"/>
                      <a:pt x="14602" y="16411"/>
                      <a:pt x="14602" y="16411"/>
                    </a:cubicBezTo>
                    <a:cubicBezTo>
                      <a:pt x="14511" y="16682"/>
                      <a:pt x="14471" y="17334"/>
                      <a:pt x="14360" y="17497"/>
                    </a:cubicBezTo>
                    <a:cubicBezTo>
                      <a:pt x="14259" y="17660"/>
                      <a:pt x="14077" y="17688"/>
                      <a:pt x="14137" y="17796"/>
                    </a:cubicBezTo>
                    <a:cubicBezTo>
                      <a:pt x="14289" y="18068"/>
                      <a:pt x="14117" y="18584"/>
                      <a:pt x="14117" y="18584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/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181" name="íṩļíďé"/>
              <p:cNvSpPr/>
              <p:nvPr/>
            </p:nvSpPr>
            <p:spPr>
              <a:xfrm>
                <a:off x="1594526" y="1418168"/>
                <a:ext cx="1810687" cy="108904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6460" y="13644"/>
                    </a:moveTo>
                    <a:cubicBezTo>
                      <a:pt x="16432" y="13644"/>
                      <a:pt x="16432" y="13644"/>
                      <a:pt x="16432" y="13644"/>
                    </a:cubicBezTo>
                    <a:cubicBezTo>
                      <a:pt x="16432" y="13644"/>
                      <a:pt x="16432" y="13333"/>
                      <a:pt x="16432" y="13244"/>
                    </a:cubicBezTo>
                    <a:cubicBezTo>
                      <a:pt x="16347" y="13244"/>
                      <a:pt x="16095" y="13067"/>
                      <a:pt x="16095" y="12756"/>
                    </a:cubicBezTo>
                    <a:cubicBezTo>
                      <a:pt x="16095" y="12533"/>
                      <a:pt x="16319" y="12533"/>
                      <a:pt x="16347" y="12267"/>
                    </a:cubicBezTo>
                    <a:cubicBezTo>
                      <a:pt x="16460" y="11733"/>
                      <a:pt x="16993" y="11733"/>
                      <a:pt x="17246" y="11378"/>
                    </a:cubicBezTo>
                    <a:cubicBezTo>
                      <a:pt x="17162" y="11156"/>
                      <a:pt x="16965" y="11378"/>
                      <a:pt x="16797" y="11200"/>
                    </a:cubicBezTo>
                    <a:cubicBezTo>
                      <a:pt x="16713" y="11111"/>
                      <a:pt x="16656" y="10933"/>
                      <a:pt x="16516" y="10933"/>
                    </a:cubicBezTo>
                    <a:cubicBezTo>
                      <a:pt x="16432" y="10933"/>
                      <a:pt x="16432" y="11378"/>
                      <a:pt x="16347" y="11378"/>
                    </a:cubicBezTo>
                    <a:cubicBezTo>
                      <a:pt x="16235" y="11378"/>
                      <a:pt x="16123" y="11422"/>
                      <a:pt x="16010" y="11333"/>
                    </a:cubicBezTo>
                    <a:cubicBezTo>
                      <a:pt x="15870" y="11200"/>
                      <a:pt x="15926" y="10978"/>
                      <a:pt x="15786" y="10800"/>
                    </a:cubicBezTo>
                    <a:cubicBezTo>
                      <a:pt x="15730" y="10756"/>
                      <a:pt x="15505" y="10667"/>
                      <a:pt x="15505" y="10489"/>
                    </a:cubicBezTo>
                    <a:cubicBezTo>
                      <a:pt x="15505" y="10089"/>
                      <a:pt x="15870" y="10222"/>
                      <a:pt x="16038" y="10000"/>
                    </a:cubicBezTo>
                    <a:cubicBezTo>
                      <a:pt x="16207" y="9822"/>
                      <a:pt x="16488" y="9556"/>
                      <a:pt x="16572" y="9289"/>
                    </a:cubicBezTo>
                    <a:cubicBezTo>
                      <a:pt x="16600" y="9244"/>
                      <a:pt x="16656" y="9022"/>
                      <a:pt x="16769" y="9022"/>
                    </a:cubicBezTo>
                    <a:cubicBezTo>
                      <a:pt x="16881" y="9022"/>
                      <a:pt x="17022" y="9289"/>
                      <a:pt x="17022" y="9422"/>
                    </a:cubicBezTo>
                    <a:cubicBezTo>
                      <a:pt x="17022" y="9733"/>
                      <a:pt x="16769" y="9867"/>
                      <a:pt x="16769" y="10222"/>
                    </a:cubicBezTo>
                    <a:cubicBezTo>
                      <a:pt x="17134" y="10222"/>
                      <a:pt x="17415" y="9600"/>
                      <a:pt x="17808" y="9600"/>
                    </a:cubicBezTo>
                    <a:cubicBezTo>
                      <a:pt x="17949" y="9600"/>
                      <a:pt x="18005" y="9822"/>
                      <a:pt x="18201" y="9822"/>
                    </a:cubicBezTo>
                    <a:cubicBezTo>
                      <a:pt x="18145" y="10044"/>
                      <a:pt x="18201" y="10044"/>
                      <a:pt x="18201" y="10267"/>
                    </a:cubicBezTo>
                    <a:cubicBezTo>
                      <a:pt x="18201" y="10444"/>
                      <a:pt x="18061" y="10444"/>
                      <a:pt x="18061" y="10667"/>
                    </a:cubicBezTo>
                    <a:cubicBezTo>
                      <a:pt x="18061" y="10756"/>
                      <a:pt x="18117" y="11022"/>
                      <a:pt x="18201" y="11022"/>
                    </a:cubicBezTo>
                    <a:cubicBezTo>
                      <a:pt x="18229" y="11022"/>
                      <a:pt x="18286" y="10889"/>
                      <a:pt x="18370" y="10889"/>
                    </a:cubicBezTo>
                    <a:cubicBezTo>
                      <a:pt x="18510" y="10889"/>
                      <a:pt x="18707" y="11067"/>
                      <a:pt x="18707" y="11289"/>
                    </a:cubicBezTo>
                    <a:cubicBezTo>
                      <a:pt x="18707" y="11422"/>
                      <a:pt x="18595" y="11556"/>
                      <a:pt x="18510" y="11556"/>
                    </a:cubicBezTo>
                    <a:cubicBezTo>
                      <a:pt x="18510" y="11733"/>
                      <a:pt x="18510" y="11733"/>
                      <a:pt x="18510" y="11733"/>
                    </a:cubicBezTo>
                    <a:cubicBezTo>
                      <a:pt x="18538" y="11778"/>
                      <a:pt x="18538" y="11867"/>
                      <a:pt x="18623" y="11911"/>
                    </a:cubicBezTo>
                    <a:cubicBezTo>
                      <a:pt x="18623" y="12000"/>
                      <a:pt x="18679" y="12089"/>
                      <a:pt x="18679" y="12222"/>
                    </a:cubicBezTo>
                    <a:cubicBezTo>
                      <a:pt x="18679" y="12267"/>
                      <a:pt x="18566" y="12533"/>
                      <a:pt x="18566" y="12667"/>
                    </a:cubicBezTo>
                    <a:cubicBezTo>
                      <a:pt x="18566" y="12756"/>
                      <a:pt x="18566" y="12844"/>
                      <a:pt x="18651" y="12889"/>
                    </a:cubicBezTo>
                    <a:cubicBezTo>
                      <a:pt x="18623" y="12978"/>
                      <a:pt x="18566" y="13022"/>
                      <a:pt x="18566" y="13111"/>
                    </a:cubicBezTo>
                    <a:cubicBezTo>
                      <a:pt x="18763" y="13111"/>
                      <a:pt x="18763" y="13111"/>
                      <a:pt x="18763" y="13111"/>
                    </a:cubicBezTo>
                    <a:cubicBezTo>
                      <a:pt x="18819" y="13022"/>
                      <a:pt x="18847" y="13022"/>
                      <a:pt x="18988" y="12933"/>
                    </a:cubicBezTo>
                    <a:cubicBezTo>
                      <a:pt x="18988" y="12756"/>
                      <a:pt x="19297" y="12756"/>
                      <a:pt x="19381" y="12711"/>
                    </a:cubicBezTo>
                    <a:cubicBezTo>
                      <a:pt x="19550" y="12622"/>
                      <a:pt x="19634" y="12400"/>
                      <a:pt x="19634" y="11956"/>
                    </a:cubicBezTo>
                    <a:cubicBezTo>
                      <a:pt x="19634" y="11200"/>
                      <a:pt x="19437" y="10756"/>
                      <a:pt x="19184" y="10311"/>
                    </a:cubicBezTo>
                    <a:cubicBezTo>
                      <a:pt x="19072" y="10133"/>
                      <a:pt x="18932" y="9956"/>
                      <a:pt x="18960" y="9644"/>
                    </a:cubicBezTo>
                    <a:cubicBezTo>
                      <a:pt x="19100" y="9644"/>
                      <a:pt x="19241" y="9511"/>
                      <a:pt x="19325" y="9333"/>
                    </a:cubicBezTo>
                    <a:cubicBezTo>
                      <a:pt x="19409" y="9200"/>
                      <a:pt x="19634" y="9022"/>
                      <a:pt x="19690" y="8844"/>
                    </a:cubicBezTo>
                    <a:cubicBezTo>
                      <a:pt x="19859" y="8311"/>
                      <a:pt x="19943" y="8000"/>
                      <a:pt x="20252" y="7644"/>
                    </a:cubicBezTo>
                    <a:cubicBezTo>
                      <a:pt x="20252" y="7644"/>
                      <a:pt x="20729" y="6800"/>
                      <a:pt x="20308" y="6356"/>
                    </a:cubicBezTo>
                    <a:cubicBezTo>
                      <a:pt x="20139" y="6178"/>
                      <a:pt x="20645" y="6133"/>
                      <a:pt x="20926" y="5867"/>
                    </a:cubicBezTo>
                    <a:cubicBezTo>
                      <a:pt x="21235" y="5600"/>
                      <a:pt x="21347" y="4533"/>
                      <a:pt x="21600" y="4089"/>
                    </a:cubicBezTo>
                    <a:cubicBezTo>
                      <a:pt x="21600" y="3600"/>
                      <a:pt x="21600" y="3600"/>
                      <a:pt x="21600" y="3600"/>
                    </a:cubicBezTo>
                    <a:cubicBezTo>
                      <a:pt x="21094" y="3600"/>
                      <a:pt x="21038" y="4222"/>
                      <a:pt x="20617" y="4222"/>
                    </a:cubicBezTo>
                    <a:cubicBezTo>
                      <a:pt x="20252" y="4222"/>
                      <a:pt x="20111" y="3467"/>
                      <a:pt x="19943" y="3244"/>
                    </a:cubicBezTo>
                    <a:cubicBezTo>
                      <a:pt x="19718" y="2889"/>
                      <a:pt x="19184" y="2844"/>
                      <a:pt x="19016" y="2444"/>
                    </a:cubicBezTo>
                    <a:cubicBezTo>
                      <a:pt x="18595" y="1378"/>
                      <a:pt x="18623" y="0"/>
                      <a:pt x="17527" y="0"/>
                    </a:cubicBezTo>
                    <a:cubicBezTo>
                      <a:pt x="15954" y="0"/>
                      <a:pt x="16544" y="3289"/>
                      <a:pt x="15364" y="2533"/>
                    </a:cubicBezTo>
                    <a:cubicBezTo>
                      <a:pt x="14466" y="2000"/>
                      <a:pt x="13567" y="3022"/>
                      <a:pt x="12864" y="3022"/>
                    </a:cubicBezTo>
                    <a:cubicBezTo>
                      <a:pt x="12078" y="3022"/>
                      <a:pt x="11853" y="2044"/>
                      <a:pt x="11095" y="2044"/>
                    </a:cubicBezTo>
                    <a:cubicBezTo>
                      <a:pt x="10758" y="2044"/>
                      <a:pt x="10252" y="2711"/>
                      <a:pt x="9971" y="1467"/>
                    </a:cubicBezTo>
                    <a:cubicBezTo>
                      <a:pt x="9887" y="1156"/>
                      <a:pt x="9129" y="978"/>
                      <a:pt x="8904" y="978"/>
                    </a:cubicBezTo>
                    <a:cubicBezTo>
                      <a:pt x="8539" y="978"/>
                      <a:pt x="8679" y="2444"/>
                      <a:pt x="7977" y="2444"/>
                    </a:cubicBezTo>
                    <a:cubicBezTo>
                      <a:pt x="7472" y="2444"/>
                      <a:pt x="6938" y="1867"/>
                      <a:pt x="6629" y="1867"/>
                    </a:cubicBezTo>
                    <a:cubicBezTo>
                      <a:pt x="6432" y="1867"/>
                      <a:pt x="6208" y="2267"/>
                      <a:pt x="6123" y="2356"/>
                    </a:cubicBezTo>
                    <a:cubicBezTo>
                      <a:pt x="5505" y="2933"/>
                      <a:pt x="4775" y="2933"/>
                      <a:pt x="4269" y="3600"/>
                    </a:cubicBezTo>
                    <a:cubicBezTo>
                      <a:pt x="4073" y="3911"/>
                      <a:pt x="4466" y="4978"/>
                      <a:pt x="3455" y="4800"/>
                    </a:cubicBezTo>
                    <a:cubicBezTo>
                      <a:pt x="3090" y="4711"/>
                      <a:pt x="3034" y="5911"/>
                      <a:pt x="2416" y="6089"/>
                    </a:cubicBezTo>
                    <a:cubicBezTo>
                      <a:pt x="2416" y="8267"/>
                      <a:pt x="1629" y="9200"/>
                      <a:pt x="478" y="9200"/>
                    </a:cubicBezTo>
                    <a:cubicBezTo>
                      <a:pt x="281" y="9200"/>
                      <a:pt x="28" y="10089"/>
                      <a:pt x="0" y="10489"/>
                    </a:cubicBezTo>
                    <a:cubicBezTo>
                      <a:pt x="309" y="10578"/>
                      <a:pt x="365" y="10711"/>
                      <a:pt x="421" y="11156"/>
                    </a:cubicBezTo>
                    <a:cubicBezTo>
                      <a:pt x="421" y="11244"/>
                      <a:pt x="421" y="11244"/>
                      <a:pt x="421" y="11244"/>
                    </a:cubicBezTo>
                    <a:cubicBezTo>
                      <a:pt x="421" y="11600"/>
                      <a:pt x="534" y="11511"/>
                      <a:pt x="702" y="11600"/>
                    </a:cubicBezTo>
                    <a:cubicBezTo>
                      <a:pt x="843" y="11644"/>
                      <a:pt x="786" y="11911"/>
                      <a:pt x="871" y="12044"/>
                    </a:cubicBezTo>
                    <a:cubicBezTo>
                      <a:pt x="1039" y="12311"/>
                      <a:pt x="1180" y="12311"/>
                      <a:pt x="1404" y="12444"/>
                    </a:cubicBezTo>
                    <a:cubicBezTo>
                      <a:pt x="1629" y="12400"/>
                      <a:pt x="1713" y="12089"/>
                      <a:pt x="1938" y="12089"/>
                    </a:cubicBezTo>
                    <a:cubicBezTo>
                      <a:pt x="2050" y="12089"/>
                      <a:pt x="2331" y="12444"/>
                      <a:pt x="2331" y="12622"/>
                    </a:cubicBezTo>
                    <a:cubicBezTo>
                      <a:pt x="2331" y="13156"/>
                      <a:pt x="1854" y="13067"/>
                      <a:pt x="1854" y="13600"/>
                    </a:cubicBezTo>
                    <a:cubicBezTo>
                      <a:pt x="1854" y="13822"/>
                      <a:pt x="2050" y="13867"/>
                      <a:pt x="2050" y="14089"/>
                    </a:cubicBezTo>
                    <a:cubicBezTo>
                      <a:pt x="2050" y="14356"/>
                      <a:pt x="1910" y="14311"/>
                      <a:pt x="1770" y="14311"/>
                    </a:cubicBezTo>
                    <a:cubicBezTo>
                      <a:pt x="1770" y="14489"/>
                      <a:pt x="1770" y="14489"/>
                      <a:pt x="1770" y="14489"/>
                    </a:cubicBezTo>
                    <a:cubicBezTo>
                      <a:pt x="1798" y="14711"/>
                      <a:pt x="1798" y="14889"/>
                      <a:pt x="1826" y="15111"/>
                    </a:cubicBezTo>
                    <a:cubicBezTo>
                      <a:pt x="1854" y="15244"/>
                      <a:pt x="1994" y="15200"/>
                      <a:pt x="2050" y="15244"/>
                    </a:cubicBezTo>
                    <a:cubicBezTo>
                      <a:pt x="2247" y="15333"/>
                      <a:pt x="2331" y="15600"/>
                      <a:pt x="2556" y="15689"/>
                    </a:cubicBezTo>
                    <a:cubicBezTo>
                      <a:pt x="2809" y="15778"/>
                      <a:pt x="2949" y="15644"/>
                      <a:pt x="3090" y="15867"/>
                    </a:cubicBezTo>
                    <a:cubicBezTo>
                      <a:pt x="3258" y="16133"/>
                      <a:pt x="3371" y="16044"/>
                      <a:pt x="3567" y="16178"/>
                    </a:cubicBezTo>
                    <a:cubicBezTo>
                      <a:pt x="3651" y="16267"/>
                      <a:pt x="3651" y="16400"/>
                      <a:pt x="3708" y="16578"/>
                    </a:cubicBezTo>
                    <a:cubicBezTo>
                      <a:pt x="3736" y="16711"/>
                      <a:pt x="3848" y="16533"/>
                      <a:pt x="3904" y="16578"/>
                    </a:cubicBezTo>
                    <a:cubicBezTo>
                      <a:pt x="4101" y="16800"/>
                      <a:pt x="4213" y="17067"/>
                      <a:pt x="4494" y="17067"/>
                    </a:cubicBezTo>
                    <a:cubicBezTo>
                      <a:pt x="4663" y="17067"/>
                      <a:pt x="4831" y="17067"/>
                      <a:pt x="5000" y="17067"/>
                    </a:cubicBezTo>
                    <a:cubicBezTo>
                      <a:pt x="5112" y="17067"/>
                      <a:pt x="5168" y="16978"/>
                      <a:pt x="5224" y="16978"/>
                    </a:cubicBezTo>
                    <a:cubicBezTo>
                      <a:pt x="5309" y="16978"/>
                      <a:pt x="5337" y="17289"/>
                      <a:pt x="5365" y="17422"/>
                    </a:cubicBezTo>
                    <a:cubicBezTo>
                      <a:pt x="5533" y="17289"/>
                      <a:pt x="5590" y="16933"/>
                      <a:pt x="5899" y="16933"/>
                    </a:cubicBezTo>
                    <a:cubicBezTo>
                      <a:pt x="6151" y="16933"/>
                      <a:pt x="6292" y="17156"/>
                      <a:pt x="6488" y="17156"/>
                    </a:cubicBezTo>
                    <a:cubicBezTo>
                      <a:pt x="6685" y="17156"/>
                      <a:pt x="7078" y="16622"/>
                      <a:pt x="7163" y="16533"/>
                    </a:cubicBezTo>
                    <a:cubicBezTo>
                      <a:pt x="7247" y="16444"/>
                      <a:pt x="7275" y="16400"/>
                      <a:pt x="7303" y="16311"/>
                    </a:cubicBezTo>
                    <a:cubicBezTo>
                      <a:pt x="7415" y="16133"/>
                      <a:pt x="7584" y="16356"/>
                      <a:pt x="7724" y="16267"/>
                    </a:cubicBezTo>
                    <a:cubicBezTo>
                      <a:pt x="7837" y="16089"/>
                      <a:pt x="7837" y="16089"/>
                      <a:pt x="7837" y="16089"/>
                    </a:cubicBezTo>
                    <a:cubicBezTo>
                      <a:pt x="7921" y="16089"/>
                      <a:pt x="7921" y="16089"/>
                      <a:pt x="7921" y="16089"/>
                    </a:cubicBezTo>
                    <a:cubicBezTo>
                      <a:pt x="8005" y="16756"/>
                      <a:pt x="8258" y="16711"/>
                      <a:pt x="8567" y="16933"/>
                    </a:cubicBezTo>
                    <a:cubicBezTo>
                      <a:pt x="8679" y="17244"/>
                      <a:pt x="8876" y="17378"/>
                      <a:pt x="8876" y="17778"/>
                    </a:cubicBezTo>
                    <a:cubicBezTo>
                      <a:pt x="8876" y="18533"/>
                      <a:pt x="8539" y="18578"/>
                      <a:pt x="8539" y="19289"/>
                    </a:cubicBezTo>
                    <a:cubicBezTo>
                      <a:pt x="8539" y="19378"/>
                      <a:pt x="8567" y="19511"/>
                      <a:pt x="8595" y="19511"/>
                    </a:cubicBezTo>
                    <a:cubicBezTo>
                      <a:pt x="8679" y="19511"/>
                      <a:pt x="8764" y="19378"/>
                      <a:pt x="8848" y="19378"/>
                    </a:cubicBezTo>
                    <a:cubicBezTo>
                      <a:pt x="8960" y="19378"/>
                      <a:pt x="8988" y="19956"/>
                      <a:pt x="9101" y="20000"/>
                    </a:cubicBezTo>
                    <a:cubicBezTo>
                      <a:pt x="9101" y="20400"/>
                      <a:pt x="9269" y="20800"/>
                      <a:pt x="9494" y="20800"/>
                    </a:cubicBezTo>
                    <a:cubicBezTo>
                      <a:pt x="9606" y="20800"/>
                      <a:pt x="9634" y="20756"/>
                      <a:pt x="9719" y="20756"/>
                    </a:cubicBezTo>
                    <a:cubicBezTo>
                      <a:pt x="9775" y="20756"/>
                      <a:pt x="9775" y="20756"/>
                      <a:pt x="9775" y="20756"/>
                    </a:cubicBezTo>
                    <a:cubicBezTo>
                      <a:pt x="9775" y="20933"/>
                      <a:pt x="9831" y="20978"/>
                      <a:pt x="9859" y="20978"/>
                    </a:cubicBezTo>
                    <a:cubicBezTo>
                      <a:pt x="9887" y="20978"/>
                      <a:pt x="9915" y="20889"/>
                      <a:pt x="9915" y="20800"/>
                    </a:cubicBezTo>
                    <a:cubicBezTo>
                      <a:pt x="9915" y="20622"/>
                      <a:pt x="9915" y="20489"/>
                      <a:pt x="9915" y="20311"/>
                    </a:cubicBezTo>
                    <a:cubicBezTo>
                      <a:pt x="9915" y="20311"/>
                      <a:pt x="10196" y="20178"/>
                      <a:pt x="10252" y="20178"/>
                    </a:cubicBezTo>
                    <a:cubicBezTo>
                      <a:pt x="10646" y="20178"/>
                      <a:pt x="10646" y="20178"/>
                      <a:pt x="10646" y="20178"/>
                    </a:cubicBezTo>
                    <a:cubicBezTo>
                      <a:pt x="10814" y="20311"/>
                      <a:pt x="10954" y="19911"/>
                      <a:pt x="11151" y="19911"/>
                    </a:cubicBezTo>
                    <a:cubicBezTo>
                      <a:pt x="11348" y="19911"/>
                      <a:pt x="11460" y="20133"/>
                      <a:pt x="11685" y="20133"/>
                    </a:cubicBezTo>
                    <a:cubicBezTo>
                      <a:pt x="11685" y="20622"/>
                      <a:pt x="11909" y="20800"/>
                      <a:pt x="12106" y="20889"/>
                    </a:cubicBezTo>
                    <a:cubicBezTo>
                      <a:pt x="12106" y="20889"/>
                      <a:pt x="12106" y="20889"/>
                      <a:pt x="12106" y="20889"/>
                    </a:cubicBezTo>
                    <a:cubicBezTo>
                      <a:pt x="12331" y="21067"/>
                      <a:pt x="12471" y="20933"/>
                      <a:pt x="12696" y="21111"/>
                    </a:cubicBezTo>
                    <a:cubicBezTo>
                      <a:pt x="12696" y="21200"/>
                      <a:pt x="12668" y="21600"/>
                      <a:pt x="12752" y="21600"/>
                    </a:cubicBezTo>
                    <a:cubicBezTo>
                      <a:pt x="12893" y="21600"/>
                      <a:pt x="12836" y="21333"/>
                      <a:pt x="12921" y="21200"/>
                    </a:cubicBezTo>
                    <a:cubicBezTo>
                      <a:pt x="13005" y="21067"/>
                      <a:pt x="13258" y="20978"/>
                      <a:pt x="13370" y="20889"/>
                    </a:cubicBezTo>
                    <a:cubicBezTo>
                      <a:pt x="13595" y="20711"/>
                      <a:pt x="13820" y="20800"/>
                      <a:pt x="13988" y="20578"/>
                    </a:cubicBezTo>
                    <a:cubicBezTo>
                      <a:pt x="13988" y="20578"/>
                      <a:pt x="14100" y="20222"/>
                      <a:pt x="14128" y="20222"/>
                    </a:cubicBezTo>
                    <a:cubicBezTo>
                      <a:pt x="14241" y="20222"/>
                      <a:pt x="14325" y="20356"/>
                      <a:pt x="14437" y="20356"/>
                    </a:cubicBezTo>
                    <a:cubicBezTo>
                      <a:pt x="14999" y="20356"/>
                      <a:pt x="15140" y="19822"/>
                      <a:pt x="15505" y="19511"/>
                    </a:cubicBezTo>
                    <a:cubicBezTo>
                      <a:pt x="15589" y="19422"/>
                      <a:pt x="15645" y="19333"/>
                      <a:pt x="15673" y="19156"/>
                    </a:cubicBezTo>
                    <a:cubicBezTo>
                      <a:pt x="15982" y="19156"/>
                      <a:pt x="16067" y="18400"/>
                      <a:pt x="16179" y="18044"/>
                    </a:cubicBezTo>
                    <a:cubicBezTo>
                      <a:pt x="16235" y="17822"/>
                      <a:pt x="16572" y="17022"/>
                      <a:pt x="16769" y="16978"/>
                    </a:cubicBezTo>
                    <a:cubicBezTo>
                      <a:pt x="16769" y="16533"/>
                      <a:pt x="16965" y="16356"/>
                      <a:pt x="16965" y="15778"/>
                    </a:cubicBezTo>
                    <a:cubicBezTo>
                      <a:pt x="16965" y="14933"/>
                      <a:pt x="16825" y="14622"/>
                      <a:pt x="16600" y="14089"/>
                    </a:cubicBezTo>
                    <a:cubicBezTo>
                      <a:pt x="16572" y="14000"/>
                      <a:pt x="16572" y="13733"/>
                      <a:pt x="16460" y="13644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/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182" name="îṧlídê"/>
              <p:cNvSpPr/>
              <p:nvPr/>
            </p:nvSpPr>
            <p:spPr>
              <a:xfrm>
                <a:off x="4696552" y="602053"/>
                <a:ext cx="103871" cy="4281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964" y="21600"/>
                    </a:moveTo>
                    <a:cubicBezTo>
                      <a:pt x="491" y="21600"/>
                      <a:pt x="0" y="19326"/>
                      <a:pt x="0" y="15916"/>
                    </a:cubicBezTo>
                    <a:cubicBezTo>
                      <a:pt x="0" y="9095"/>
                      <a:pt x="6382" y="0"/>
                      <a:pt x="9818" y="0"/>
                    </a:cubicBezTo>
                    <a:cubicBezTo>
                      <a:pt x="13255" y="0"/>
                      <a:pt x="21600" y="4547"/>
                      <a:pt x="21600" y="12505"/>
                    </a:cubicBezTo>
                    <a:cubicBezTo>
                      <a:pt x="21600" y="19326"/>
                      <a:pt x="4418" y="21600"/>
                      <a:pt x="1964" y="2160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183" name="isľîḓe"/>
              <p:cNvSpPr/>
              <p:nvPr/>
            </p:nvSpPr>
            <p:spPr>
              <a:xfrm>
                <a:off x="4382139" y="682327"/>
                <a:ext cx="42111" cy="2408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5600" y="21600"/>
                    </a:moveTo>
                    <a:cubicBezTo>
                      <a:pt x="18000" y="21600"/>
                      <a:pt x="21600" y="17280"/>
                      <a:pt x="21600" y="12960"/>
                    </a:cubicBezTo>
                    <a:cubicBezTo>
                      <a:pt x="21600" y="6480"/>
                      <a:pt x="18000" y="4320"/>
                      <a:pt x="1800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600" y="12960"/>
                      <a:pt x="8400" y="21600"/>
                      <a:pt x="15600" y="2160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184" name="ïşliḑe"/>
              <p:cNvSpPr/>
              <p:nvPr/>
            </p:nvSpPr>
            <p:spPr>
              <a:xfrm>
                <a:off x="3416440" y="369258"/>
                <a:ext cx="19652" cy="2140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10800"/>
                    </a:moveTo>
                    <a:cubicBezTo>
                      <a:pt x="8100" y="0"/>
                      <a:pt x="8100" y="0"/>
                      <a:pt x="8100" y="0"/>
                    </a:cubicBezTo>
                    <a:cubicBezTo>
                      <a:pt x="5400" y="4320"/>
                      <a:pt x="0" y="8640"/>
                      <a:pt x="0" y="15120"/>
                    </a:cubicBezTo>
                    <a:cubicBezTo>
                      <a:pt x="0" y="19440"/>
                      <a:pt x="2700" y="21600"/>
                      <a:pt x="8100" y="21600"/>
                    </a:cubicBezTo>
                    <a:cubicBezTo>
                      <a:pt x="18900" y="21600"/>
                      <a:pt x="18900" y="12960"/>
                      <a:pt x="21600" y="8640"/>
                    </a:cubicBezTo>
                    <a:cubicBezTo>
                      <a:pt x="16200" y="8640"/>
                      <a:pt x="16200" y="8640"/>
                      <a:pt x="16200" y="8640"/>
                    </a:cubicBezTo>
                    <a:lnTo>
                      <a:pt x="21600" y="10800"/>
                    </a:ln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185" name="iṥľïḑe"/>
              <p:cNvSpPr/>
              <p:nvPr/>
            </p:nvSpPr>
            <p:spPr>
              <a:xfrm>
                <a:off x="2717432" y="441506"/>
                <a:ext cx="47725" cy="2675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16200"/>
                    </a:moveTo>
                    <a:cubicBezTo>
                      <a:pt x="18360" y="19800"/>
                      <a:pt x="15120" y="21600"/>
                      <a:pt x="10800" y="21600"/>
                    </a:cubicBezTo>
                    <a:cubicBezTo>
                      <a:pt x="5400" y="21600"/>
                      <a:pt x="0" y="19800"/>
                      <a:pt x="0" y="12600"/>
                    </a:cubicBezTo>
                    <a:cubicBezTo>
                      <a:pt x="0" y="5400"/>
                      <a:pt x="6480" y="0"/>
                      <a:pt x="10800" y="0"/>
                    </a:cubicBezTo>
                    <a:cubicBezTo>
                      <a:pt x="17280" y="0"/>
                      <a:pt x="21600" y="3600"/>
                      <a:pt x="21600" y="12600"/>
                    </a:cubicBezTo>
                    <a:cubicBezTo>
                      <a:pt x="21600" y="18000"/>
                      <a:pt x="19440" y="19800"/>
                      <a:pt x="18360" y="21600"/>
                    </a:cubicBezTo>
                    <a:lnTo>
                      <a:pt x="21600" y="16200"/>
                    </a:ln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186" name="îṡļiḍè"/>
              <p:cNvSpPr/>
              <p:nvPr/>
            </p:nvSpPr>
            <p:spPr>
              <a:xfrm>
                <a:off x="2352487" y="152520"/>
                <a:ext cx="176860" cy="9633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05" y="21600"/>
                    </a:moveTo>
                    <a:cubicBezTo>
                      <a:pt x="284" y="21600"/>
                      <a:pt x="0" y="20595"/>
                      <a:pt x="0" y="18586"/>
                    </a:cubicBezTo>
                    <a:cubicBezTo>
                      <a:pt x="0" y="15070"/>
                      <a:pt x="1421" y="15070"/>
                      <a:pt x="2274" y="13563"/>
                    </a:cubicBezTo>
                    <a:cubicBezTo>
                      <a:pt x="5116" y="8540"/>
                      <a:pt x="6253" y="0"/>
                      <a:pt x="11084" y="0"/>
                    </a:cubicBezTo>
                    <a:cubicBezTo>
                      <a:pt x="12221" y="0"/>
                      <a:pt x="12221" y="0"/>
                      <a:pt x="12789" y="0"/>
                    </a:cubicBezTo>
                    <a:cubicBezTo>
                      <a:pt x="12789" y="3516"/>
                      <a:pt x="13358" y="3516"/>
                      <a:pt x="12505" y="5023"/>
                    </a:cubicBezTo>
                    <a:cubicBezTo>
                      <a:pt x="13358" y="4521"/>
                      <a:pt x="13926" y="3014"/>
                      <a:pt x="14779" y="3014"/>
                    </a:cubicBezTo>
                    <a:cubicBezTo>
                      <a:pt x="16484" y="3014"/>
                      <a:pt x="21600" y="8540"/>
                      <a:pt x="21600" y="11553"/>
                    </a:cubicBezTo>
                    <a:cubicBezTo>
                      <a:pt x="21600" y="17079"/>
                      <a:pt x="15063" y="18084"/>
                      <a:pt x="12789" y="17079"/>
                    </a:cubicBezTo>
                    <a:cubicBezTo>
                      <a:pt x="12221" y="17079"/>
                      <a:pt x="8526" y="18586"/>
                      <a:pt x="8526" y="18586"/>
                    </a:cubicBezTo>
                    <a:lnTo>
                      <a:pt x="1705" y="21600"/>
                    </a:ln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187" name="ïSļíḍe"/>
              <p:cNvSpPr/>
              <p:nvPr/>
            </p:nvSpPr>
            <p:spPr>
              <a:xfrm>
                <a:off x="2099833" y="107031"/>
                <a:ext cx="70184" cy="3478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8640" y="0"/>
                    </a:moveTo>
                    <a:cubicBezTo>
                      <a:pt x="10080" y="0"/>
                      <a:pt x="18720" y="8100"/>
                      <a:pt x="21600" y="9450"/>
                    </a:cubicBezTo>
                    <a:cubicBezTo>
                      <a:pt x="20880" y="20250"/>
                      <a:pt x="10080" y="21600"/>
                      <a:pt x="6480" y="21600"/>
                    </a:cubicBezTo>
                    <a:cubicBezTo>
                      <a:pt x="4320" y="21600"/>
                      <a:pt x="0" y="12150"/>
                      <a:pt x="0" y="6750"/>
                    </a:cubicBezTo>
                    <a:cubicBezTo>
                      <a:pt x="0" y="0"/>
                      <a:pt x="6480" y="0"/>
                      <a:pt x="8640" y="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188" name="î$ļiḑé"/>
              <p:cNvSpPr/>
              <p:nvPr/>
            </p:nvSpPr>
            <p:spPr>
              <a:xfrm>
                <a:off x="2122292" y="32109"/>
                <a:ext cx="247040" cy="1659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366" y="19849"/>
                    </a:moveTo>
                    <a:cubicBezTo>
                      <a:pt x="20366" y="21016"/>
                      <a:pt x="19337" y="21600"/>
                      <a:pt x="18514" y="21600"/>
                    </a:cubicBezTo>
                    <a:cubicBezTo>
                      <a:pt x="14606" y="21600"/>
                      <a:pt x="11726" y="19265"/>
                      <a:pt x="8434" y="19265"/>
                    </a:cubicBezTo>
                    <a:cubicBezTo>
                      <a:pt x="7200" y="19265"/>
                      <a:pt x="4937" y="15762"/>
                      <a:pt x="3497" y="14595"/>
                    </a:cubicBezTo>
                    <a:cubicBezTo>
                      <a:pt x="6583" y="13427"/>
                      <a:pt x="7406" y="11968"/>
                      <a:pt x="10286" y="10508"/>
                    </a:cubicBezTo>
                    <a:cubicBezTo>
                      <a:pt x="9463" y="10508"/>
                      <a:pt x="7200" y="10508"/>
                      <a:pt x="6583" y="10508"/>
                    </a:cubicBezTo>
                    <a:cubicBezTo>
                      <a:pt x="4114" y="10508"/>
                      <a:pt x="2263" y="9341"/>
                      <a:pt x="0" y="7589"/>
                    </a:cubicBezTo>
                    <a:cubicBezTo>
                      <a:pt x="3703" y="6130"/>
                      <a:pt x="5143" y="0"/>
                      <a:pt x="9463" y="0"/>
                    </a:cubicBezTo>
                    <a:cubicBezTo>
                      <a:pt x="11931" y="0"/>
                      <a:pt x="13371" y="3503"/>
                      <a:pt x="14811" y="4962"/>
                    </a:cubicBezTo>
                    <a:cubicBezTo>
                      <a:pt x="13989" y="5546"/>
                      <a:pt x="14194" y="5254"/>
                      <a:pt x="13783" y="5254"/>
                    </a:cubicBezTo>
                    <a:cubicBezTo>
                      <a:pt x="13989" y="6714"/>
                      <a:pt x="13783" y="7005"/>
                      <a:pt x="13783" y="7881"/>
                    </a:cubicBezTo>
                    <a:cubicBezTo>
                      <a:pt x="13783" y="8465"/>
                      <a:pt x="12754" y="9632"/>
                      <a:pt x="12137" y="10216"/>
                    </a:cubicBezTo>
                    <a:cubicBezTo>
                      <a:pt x="12960" y="9632"/>
                      <a:pt x="13371" y="10216"/>
                      <a:pt x="13989" y="10216"/>
                    </a:cubicBezTo>
                    <a:cubicBezTo>
                      <a:pt x="15017" y="10216"/>
                      <a:pt x="15634" y="11384"/>
                      <a:pt x="16663" y="11384"/>
                    </a:cubicBezTo>
                    <a:cubicBezTo>
                      <a:pt x="17280" y="11384"/>
                      <a:pt x="17897" y="11384"/>
                      <a:pt x="18514" y="11384"/>
                    </a:cubicBezTo>
                    <a:cubicBezTo>
                      <a:pt x="20366" y="11384"/>
                      <a:pt x="20366" y="12259"/>
                      <a:pt x="21600" y="14011"/>
                    </a:cubicBezTo>
                    <a:cubicBezTo>
                      <a:pt x="20571" y="14886"/>
                      <a:pt x="20777" y="15178"/>
                      <a:pt x="20777" y="16638"/>
                    </a:cubicBezTo>
                    <a:cubicBezTo>
                      <a:pt x="20777" y="17805"/>
                      <a:pt x="19543" y="18097"/>
                      <a:pt x="18926" y="18097"/>
                    </a:cubicBezTo>
                    <a:cubicBezTo>
                      <a:pt x="19543" y="18389"/>
                      <a:pt x="20366" y="18973"/>
                      <a:pt x="20366" y="19849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189" name="iśḷiḍe"/>
              <p:cNvSpPr/>
              <p:nvPr/>
            </p:nvSpPr>
            <p:spPr>
              <a:xfrm>
                <a:off x="2228968" y="294336"/>
                <a:ext cx="30881" cy="2140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12000"/>
                    </a:moveTo>
                    <a:cubicBezTo>
                      <a:pt x="4985" y="7200"/>
                      <a:pt x="8308" y="2400"/>
                      <a:pt x="11631" y="0"/>
                    </a:cubicBezTo>
                    <a:cubicBezTo>
                      <a:pt x="21600" y="0"/>
                      <a:pt x="21600" y="0"/>
                      <a:pt x="21600" y="0"/>
                    </a:cubicBezTo>
                    <a:cubicBezTo>
                      <a:pt x="19938" y="14400"/>
                      <a:pt x="16615" y="21600"/>
                      <a:pt x="8308" y="21600"/>
                    </a:cubicBezTo>
                    <a:cubicBezTo>
                      <a:pt x="3323" y="21600"/>
                      <a:pt x="1662" y="16800"/>
                      <a:pt x="0" y="1200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190" name="ísḻídè"/>
              <p:cNvSpPr/>
              <p:nvPr/>
            </p:nvSpPr>
            <p:spPr>
              <a:xfrm>
                <a:off x="2074567" y="35915"/>
                <a:ext cx="42111" cy="1369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17121" extrusionOk="0">
                    <a:moveTo>
                      <a:pt x="21600" y="14400"/>
                    </a:moveTo>
                    <a:cubicBezTo>
                      <a:pt x="13200" y="18000"/>
                      <a:pt x="3600" y="21600"/>
                      <a:pt x="0" y="0"/>
                    </a:cubicBezTo>
                    <a:cubicBezTo>
                      <a:pt x="19200" y="0"/>
                      <a:pt x="19200" y="0"/>
                      <a:pt x="19200" y="0"/>
                    </a:cubicBezTo>
                    <a:lnTo>
                      <a:pt x="21600" y="14400"/>
                    </a:ln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191" name="iş1iďé"/>
              <p:cNvSpPr/>
              <p:nvPr/>
            </p:nvSpPr>
            <p:spPr>
              <a:xfrm>
                <a:off x="2563031" y="229736"/>
                <a:ext cx="36497" cy="1376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18514" extrusionOk="0">
                    <a:moveTo>
                      <a:pt x="21600" y="0"/>
                    </a:moveTo>
                    <a:cubicBezTo>
                      <a:pt x="20160" y="9257"/>
                      <a:pt x="17280" y="18514"/>
                      <a:pt x="12960" y="18514"/>
                    </a:cubicBezTo>
                    <a:cubicBezTo>
                      <a:pt x="5760" y="18514"/>
                      <a:pt x="1440" y="9257"/>
                      <a:pt x="0" y="3085"/>
                    </a:cubicBezTo>
                    <a:cubicBezTo>
                      <a:pt x="12960" y="-3086"/>
                      <a:pt x="15840" y="3085"/>
                      <a:pt x="21600" y="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192" name="íšḷiḑé"/>
              <p:cNvSpPr/>
              <p:nvPr/>
            </p:nvSpPr>
            <p:spPr>
              <a:xfrm>
                <a:off x="718659" y="61543"/>
                <a:ext cx="207739" cy="6154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8445" y="11200"/>
                    </a:moveTo>
                    <a:cubicBezTo>
                      <a:pt x="16746" y="15200"/>
                      <a:pt x="15775" y="10400"/>
                      <a:pt x="14076" y="13600"/>
                    </a:cubicBezTo>
                    <a:cubicBezTo>
                      <a:pt x="13106" y="15200"/>
                      <a:pt x="12863" y="21600"/>
                      <a:pt x="11892" y="21600"/>
                    </a:cubicBezTo>
                    <a:cubicBezTo>
                      <a:pt x="11407" y="20800"/>
                      <a:pt x="10921" y="19200"/>
                      <a:pt x="10679" y="18400"/>
                    </a:cubicBezTo>
                    <a:cubicBezTo>
                      <a:pt x="10679" y="18400"/>
                      <a:pt x="10679" y="18400"/>
                      <a:pt x="10679" y="18400"/>
                    </a:cubicBezTo>
                    <a:cubicBezTo>
                      <a:pt x="9222" y="18400"/>
                      <a:pt x="8009" y="16800"/>
                      <a:pt x="7766" y="13600"/>
                    </a:cubicBezTo>
                    <a:cubicBezTo>
                      <a:pt x="8737" y="12000"/>
                      <a:pt x="9222" y="12000"/>
                      <a:pt x="9951" y="11200"/>
                    </a:cubicBezTo>
                    <a:cubicBezTo>
                      <a:pt x="8980" y="11200"/>
                      <a:pt x="8494" y="10400"/>
                      <a:pt x="8009" y="10400"/>
                    </a:cubicBezTo>
                    <a:cubicBezTo>
                      <a:pt x="8737" y="8800"/>
                      <a:pt x="9222" y="8800"/>
                      <a:pt x="9708" y="7200"/>
                    </a:cubicBezTo>
                    <a:cubicBezTo>
                      <a:pt x="8737" y="6400"/>
                      <a:pt x="8252" y="4000"/>
                      <a:pt x="7281" y="4000"/>
                    </a:cubicBezTo>
                    <a:cubicBezTo>
                      <a:pt x="6067" y="4000"/>
                      <a:pt x="4126" y="8800"/>
                      <a:pt x="2427" y="8800"/>
                    </a:cubicBezTo>
                    <a:cubicBezTo>
                      <a:pt x="1699" y="8800"/>
                      <a:pt x="971" y="7200"/>
                      <a:pt x="0" y="7200"/>
                    </a:cubicBezTo>
                    <a:cubicBezTo>
                      <a:pt x="971" y="1600"/>
                      <a:pt x="6067" y="0"/>
                      <a:pt x="8252" y="0"/>
                    </a:cubicBezTo>
                    <a:cubicBezTo>
                      <a:pt x="10921" y="0"/>
                      <a:pt x="12620" y="4800"/>
                      <a:pt x="14562" y="4800"/>
                    </a:cubicBezTo>
                    <a:cubicBezTo>
                      <a:pt x="16261" y="4800"/>
                      <a:pt x="16989" y="0"/>
                      <a:pt x="18445" y="0"/>
                    </a:cubicBezTo>
                    <a:cubicBezTo>
                      <a:pt x="19901" y="0"/>
                      <a:pt x="21115" y="3200"/>
                      <a:pt x="21600" y="4000"/>
                    </a:cubicBezTo>
                    <a:cubicBezTo>
                      <a:pt x="21600" y="10400"/>
                      <a:pt x="20144" y="7200"/>
                      <a:pt x="18930" y="10400"/>
                    </a:cubicBezTo>
                    <a:cubicBezTo>
                      <a:pt x="18445" y="10400"/>
                      <a:pt x="18202" y="10400"/>
                      <a:pt x="17717" y="10400"/>
                    </a:cubicBezTo>
                    <a:cubicBezTo>
                      <a:pt x="17717" y="13600"/>
                      <a:pt x="17717" y="13600"/>
                      <a:pt x="17717" y="13600"/>
                    </a:cubicBezTo>
                    <a:lnTo>
                      <a:pt x="18445" y="11200"/>
                    </a:ln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193" name="íṥļïḑè"/>
              <p:cNvSpPr/>
              <p:nvPr/>
            </p:nvSpPr>
            <p:spPr>
              <a:xfrm>
                <a:off x="1263269" y="24082"/>
                <a:ext cx="72989" cy="4549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4877" y="21600"/>
                    </a:moveTo>
                    <a:cubicBezTo>
                      <a:pt x="1394" y="21600"/>
                      <a:pt x="0" y="18360"/>
                      <a:pt x="0" y="14040"/>
                    </a:cubicBezTo>
                    <a:cubicBezTo>
                      <a:pt x="0" y="7560"/>
                      <a:pt x="12542" y="0"/>
                      <a:pt x="17419" y="0"/>
                    </a:cubicBezTo>
                    <a:cubicBezTo>
                      <a:pt x="21600" y="15120"/>
                      <a:pt x="21600" y="15120"/>
                      <a:pt x="21600" y="15120"/>
                    </a:cubicBezTo>
                    <a:cubicBezTo>
                      <a:pt x="19510" y="17280"/>
                      <a:pt x="7665" y="21600"/>
                      <a:pt x="4877" y="2160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194" name="íSḻîḓè"/>
              <p:cNvSpPr/>
              <p:nvPr/>
            </p:nvSpPr>
            <p:spPr>
              <a:xfrm>
                <a:off x="1167822" y="53515"/>
                <a:ext cx="78604" cy="4100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0687" extrusionOk="0">
                    <a:moveTo>
                      <a:pt x="21600" y="4320"/>
                    </a:moveTo>
                    <a:cubicBezTo>
                      <a:pt x="21600" y="8640"/>
                      <a:pt x="21600" y="8640"/>
                      <a:pt x="21600" y="10800"/>
                    </a:cubicBezTo>
                    <a:cubicBezTo>
                      <a:pt x="19636" y="15120"/>
                      <a:pt x="17018" y="12960"/>
                      <a:pt x="14400" y="12960"/>
                    </a:cubicBezTo>
                    <a:cubicBezTo>
                      <a:pt x="15709" y="19440"/>
                      <a:pt x="15709" y="19440"/>
                      <a:pt x="15709" y="19440"/>
                    </a:cubicBezTo>
                    <a:cubicBezTo>
                      <a:pt x="14400" y="20520"/>
                      <a:pt x="0" y="21600"/>
                      <a:pt x="0" y="19440"/>
                    </a:cubicBezTo>
                    <a:cubicBezTo>
                      <a:pt x="0" y="11880"/>
                      <a:pt x="1964" y="8640"/>
                      <a:pt x="5891" y="6480"/>
                    </a:cubicBezTo>
                    <a:cubicBezTo>
                      <a:pt x="5236" y="2160"/>
                      <a:pt x="5891" y="1080"/>
                      <a:pt x="5891" y="0"/>
                    </a:cubicBezTo>
                    <a:cubicBezTo>
                      <a:pt x="15055" y="0"/>
                      <a:pt x="15055" y="0"/>
                      <a:pt x="15055" y="0"/>
                    </a:cubicBezTo>
                    <a:cubicBezTo>
                      <a:pt x="14400" y="2160"/>
                      <a:pt x="13091" y="4320"/>
                      <a:pt x="12436" y="4320"/>
                    </a:cubicBezTo>
                    <a:cubicBezTo>
                      <a:pt x="14400" y="4320"/>
                      <a:pt x="18982" y="4320"/>
                      <a:pt x="21600" y="432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195" name="íṥḻíďè"/>
              <p:cNvSpPr/>
              <p:nvPr/>
            </p:nvSpPr>
            <p:spPr>
              <a:xfrm>
                <a:off x="1063952" y="90976"/>
                <a:ext cx="78604" cy="2675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2706" y="21600"/>
                    </a:moveTo>
                    <a:cubicBezTo>
                      <a:pt x="10800" y="21600"/>
                      <a:pt x="8894" y="12600"/>
                      <a:pt x="6988" y="12600"/>
                    </a:cubicBezTo>
                    <a:cubicBezTo>
                      <a:pt x="6353" y="21600"/>
                      <a:pt x="5082" y="21600"/>
                      <a:pt x="2541" y="21600"/>
                    </a:cubicBezTo>
                    <a:cubicBezTo>
                      <a:pt x="1271" y="21600"/>
                      <a:pt x="0" y="18000"/>
                      <a:pt x="0" y="16200"/>
                    </a:cubicBezTo>
                    <a:cubicBezTo>
                      <a:pt x="0" y="3600"/>
                      <a:pt x="10800" y="0"/>
                      <a:pt x="13976" y="0"/>
                    </a:cubicBezTo>
                    <a:cubicBezTo>
                      <a:pt x="17788" y="0"/>
                      <a:pt x="20329" y="3600"/>
                      <a:pt x="21600" y="9000"/>
                    </a:cubicBezTo>
                    <a:cubicBezTo>
                      <a:pt x="15882" y="9000"/>
                      <a:pt x="16518" y="21600"/>
                      <a:pt x="12706" y="2160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196" name="íṡḻidè"/>
              <p:cNvSpPr/>
              <p:nvPr/>
            </p:nvSpPr>
            <p:spPr>
              <a:xfrm>
                <a:off x="1016229" y="-1"/>
                <a:ext cx="126329" cy="8295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6302" y="18600"/>
                    </a:moveTo>
                    <a:cubicBezTo>
                      <a:pt x="13857" y="18600"/>
                      <a:pt x="11004" y="21600"/>
                      <a:pt x="8966" y="21600"/>
                    </a:cubicBezTo>
                    <a:cubicBezTo>
                      <a:pt x="7743" y="21600"/>
                      <a:pt x="408" y="16800"/>
                      <a:pt x="0" y="16800"/>
                    </a:cubicBezTo>
                    <a:cubicBezTo>
                      <a:pt x="1223" y="15600"/>
                      <a:pt x="1630" y="15000"/>
                      <a:pt x="2445" y="13800"/>
                    </a:cubicBezTo>
                    <a:cubicBezTo>
                      <a:pt x="9781" y="13800"/>
                      <a:pt x="9781" y="13800"/>
                      <a:pt x="9781" y="13800"/>
                    </a:cubicBezTo>
                    <a:cubicBezTo>
                      <a:pt x="7743" y="12600"/>
                      <a:pt x="8558" y="12000"/>
                      <a:pt x="6928" y="13200"/>
                    </a:cubicBezTo>
                    <a:cubicBezTo>
                      <a:pt x="6928" y="9600"/>
                      <a:pt x="6928" y="9600"/>
                      <a:pt x="6928" y="9600"/>
                    </a:cubicBezTo>
                    <a:cubicBezTo>
                      <a:pt x="12226" y="9600"/>
                      <a:pt x="12226" y="4800"/>
                      <a:pt x="17525" y="4800"/>
                    </a:cubicBezTo>
                    <a:cubicBezTo>
                      <a:pt x="17932" y="2400"/>
                      <a:pt x="19155" y="0"/>
                      <a:pt x="20785" y="0"/>
                    </a:cubicBezTo>
                    <a:cubicBezTo>
                      <a:pt x="21192" y="0"/>
                      <a:pt x="21192" y="2400"/>
                      <a:pt x="21192" y="3000"/>
                    </a:cubicBezTo>
                    <a:cubicBezTo>
                      <a:pt x="20377" y="4200"/>
                      <a:pt x="19562" y="5400"/>
                      <a:pt x="19562" y="6600"/>
                    </a:cubicBezTo>
                    <a:cubicBezTo>
                      <a:pt x="16709" y="9600"/>
                      <a:pt x="13042" y="10800"/>
                      <a:pt x="11411" y="13800"/>
                    </a:cubicBezTo>
                    <a:cubicBezTo>
                      <a:pt x="16302" y="14400"/>
                      <a:pt x="17525" y="15000"/>
                      <a:pt x="21600" y="17400"/>
                    </a:cubicBezTo>
                    <a:cubicBezTo>
                      <a:pt x="19970" y="19200"/>
                      <a:pt x="18340" y="18600"/>
                      <a:pt x="16302" y="1860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197" name="iṩlïḑé"/>
              <p:cNvSpPr/>
              <p:nvPr/>
            </p:nvSpPr>
            <p:spPr>
              <a:xfrm>
                <a:off x="3469779" y="347852"/>
                <a:ext cx="227390" cy="8295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146" y="16484"/>
                    </a:moveTo>
                    <a:cubicBezTo>
                      <a:pt x="16478" y="16484"/>
                      <a:pt x="16033" y="19326"/>
                      <a:pt x="14697" y="19326"/>
                    </a:cubicBezTo>
                    <a:cubicBezTo>
                      <a:pt x="14029" y="19326"/>
                      <a:pt x="13806" y="16484"/>
                      <a:pt x="12915" y="16484"/>
                    </a:cubicBezTo>
                    <a:cubicBezTo>
                      <a:pt x="12247" y="16484"/>
                      <a:pt x="11802" y="18189"/>
                      <a:pt x="11134" y="18189"/>
                    </a:cubicBezTo>
                    <a:cubicBezTo>
                      <a:pt x="10466" y="18189"/>
                      <a:pt x="9798" y="20463"/>
                      <a:pt x="8907" y="20463"/>
                    </a:cubicBezTo>
                    <a:cubicBezTo>
                      <a:pt x="8016" y="20463"/>
                      <a:pt x="7571" y="19326"/>
                      <a:pt x="7126" y="17621"/>
                    </a:cubicBezTo>
                    <a:cubicBezTo>
                      <a:pt x="6458" y="19326"/>
                      <a:pt x="6012" y="21600"/>
                      <a:pt x="4899" y="21600"/>
                    </a:cubicBezTo>
                    <a:cubicBezTo>
                      <a:pt x="2449" y="21600"/>
                      <a:pt x="0" y="16484"/>
                      <a:pt x="0" y="10232"/>
                    </a:cubicBezTo>
                    <a:cubicBezTo>
                      <a:pt x="0" y="4547"/>
                      <a:pt x="2449" y="0"/>
                      <a:pt x="4454" y="0"/>
                    </a:cubicBezTo>
                    <a:cubicBezTo>
                      <a:pt x="7571" y="0"/>
                      <a:pt x="7794" y="8526"/>
                      <a:pt x="10466" y="8526"/>
                    </a:cubicBezTo>
                    <a:cubicBezTo>
                      <a:pt x="10466" y="4547"/>
                      <a:pt x="10911" y="1705"/>
                      <a:pt x="12025" y="1705"/>
                    </a:cubicBezTo>
                    <a:cubicBezTo>
                      <a:pt x="13806" y="1705"/>
                      <a:pt x="19596" y="6821"/>
                      <a:pt x="21600" y="8526"/>
                    </a:cubicBezTo>
                    <a:cubicBezTo>
                      <a:pt x="21155" y="11937"/>
                      <a:pt x="19819" y="14779"/>
                      <a:pt x="19819" y="16484"/>
                    </a:cubicBezTo>
                    <a:lnTo>
                      <a:pt x="17146" y="16484"/>
                    </a:ln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198" name="ïSḷiḑê"/>
              <p:cNvSpPr/>
              <p:nvPr/>
            </p:nvSpPr>
            <p:spPr>
              <a:xfrm>
                <a:off x="373365" y="2046979"/>
                <a:ext cx="61761" cy="2943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4154" y="21600"/>
                    </a:moveTo>
                    <a:cubicBezTo>
                      <a:pt x="3323" y="21600"/>
                      <a:pt x="1662" y="19938"/>
                      <a:pt x="1662" y="18277"/>
                    </a:cubicBezTo>
                    <a:cubicBezTo>
                      <a:pt x="831" y="18277"/>
                      <a:pt x="0" y="14954"/>
                      <a:pt x="0" y="14954"/>
                    </a:cubicBezTo>
                    <a:cubicBezTo>
                      <a:pt x="5815" y="9969"/>
                      <a:pt x="14954" y="1662"/>
                      <a:pt x="21600" y="0"/>
                    </a:cubicBezTo>
                    <a:cubicBezTo>
                      <a:pt x="20769" y="6646"/>
                      <a:pt x="18277" y="3323"/>
                      <a:pt x="16615" y="6646"/>
                    </a:cubicBezTo>
                    <a:cubicBezTo>
                      <a:pt x="14954" y="6646"/>
                      <a:pt x="15785" y="11631"/>
                      <a:pt x="15785" y="13292"/>
                    </a:cubicBezTo>
                    <a:cubicBezTo>
                      <a:pt x="14954" y="18277"/>
                      <a:pt x="7477" y="21600"/>
                      <a:pt x="4154" y="2160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199" name="îśľîďe"/>
              <p:cNvSpPr/>
              <p:nvPr/>
            </p:nvSpPr>
            <p:spPr>
              <a:xfrm>
                <a:off x="830950" y="717111"/>
                <a:ext cx="61761" cy="4281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4154" y="4547"/>
                    </a:moveTo>
                    <a:cubicBezTo>
                      <a:pt x="6646" y="4547"/>
                      <a:pt x="6646" y="0"/>
                      <a:pt x="9138" y="0"/>
                    </a:cubicBezTo>
                    <a:cubicBezTo>
                      <a:pt x="14123" y="0"/>
                      <a:pt x="16615" y="5684"/>
                      <a:pt x="21600" y="6821"/>
                    </a:cubicBezTo>
                    <a:cubicBezTo>
                      <a:pt x="21600" y="13642"/>
                      <a:pt x="21600" y="13642"/>
                      <a:pt x="21600" y="13642"/>
                    </a:cubicBezTo>
                    <a:cubicBezTo>
                      <a:pt x="16615" y="17053"/>
                      <a:pt x="12462" y="21600"/>
                      <a:pt x="6646" y="21600"/>
                    </a:cubicBezTo>
                    <a:cubicBezTo>
                      <a:pt x="1662" y="21600"/>
                      <a:pt x="0" y="21600"/>
                      <a:pt x="0" y="15916"/>
                    </a:cubicBezTo>
                    <a:cubicBezTo>
                      <a:pt x="0" y="13642"/>
                      <a:pt x="3323" y="4547"/>
                      <a:pt x="4154" y="4547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00" name="íṥlïḓè"/>
              <p:cNvSpPr/>
              <p:nvPr/>
            </p:nvSpPr>
            <p:spPr>
              <a:xfrm>
                <a:off x="1142555" y="676356"/>
                <a:ext cx="47726" cy="3093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15605" extrusionOk="0">
                    <a:moveTo>
                      <a:pt x="21600" y="13272"/>
                    </a:moveTo>
                    <a:cubicBezTo>
                      <a:pt x="21600" y="16512"/>
                      <a:pt x="15429" y="15432"/>
                      <a:pt x="15429" y="15432"/>
                    </a:cubicBezTo>
                    <a:cubicBezTo>
                      <a:pt x="10286" y="15432"/>
                      <a:pt x="0" y="10032"/>
                      <a:pt x="0" y="3552"/>
                    </a:cubicBezTo>
                    <a:cubicBezTo>
                      <a:pt x="0" y="-5088"/>
                      <a:pt x="21600" y="3552"/>
                      <a:pt x="21600" y="13272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01" name="ïs1íḑe"/>
              <p:cNvSpPr/>
              <p:nvPr/>
            </p:nvSpPr>
            <p:spPr>
              <a:xfrm>
                <a:off x="1482054" y="505724"/>
                <a:ext cx="42290" cy="2943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0337" h="21600" extrusionOk="0">
                    <a:moveTo>
                      <a:pt x="1011" y="21600"/>
                    </a:moveTo>
                    <a:cubicBezTo>
                      <a:pt x="6695" y="21600"/>
                      <a:pt x="18063" y="16615"/>
                      <a:pt x="20337" y="13292"/>
                    </a:cubicBezTo>
                    <a:cubicBezTo>
                      <a:pt x="15790" y="8308"/>
                      <a:pt x="13516" y="0"/>
                      <a:pt x="7832" y="0"/>
                    </a:cubicBezTo>
                    <a:cubicBezTo>
                      <a:pt x="3284" y="0"/>
                      <a:pt x="1011" y="8308"/>
                      <a:pt x="1011" y="14954"/>
                    </a:cubicBezTo>
                    <a:cubicBezTo>
                      <a:pt x="1011" y="16615"/>
                      <a:pt x="-1263" y="21600"/>
                      <a:pt x="1011" y="21600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02" name="ï$ľiďe"/>
              <p:cNvSpPr/>
              <p:nvPr/>
            </p:nvSpPr>
            <p:spPr>
              <a:xfrm>
                <a:off x="3562418" y="476290"/>
                <a:ext cx="95448" cy="3746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16518"/>
                    </a:moveTo>
                    <a:cubicBezTo>
                      <a:pt x="2634" y="7624"/>
                      <a:pt x="5795" y="0"/>
                      <a:pt x="11063" y="0"/>
                    </a:cubicBezTo>
                    <a:cubicBezTo>
                      <a:pt x="16859" y="0"/>
                      <a:pt x="21600" y="8894"/>
                      <a:pt x="21600" y="21600"/>
                    </a:cubicBezTo>
                    <a:cubicBezTo>
                      <a:pt x="14751" y="21600"/>
                      <a:pt x="14751" y="21600"/>
                      <a:pt x="14751" y="21600"/>
                    </a:cubicBezTo>
                    <a:cubicBezTo>
                      <a:pt x="10537" y="16518"/>
                      <a:pt x="5268" y="17788"/>
                      <a:pt x="1054" y="13976"/>
                    </a:cubicBezTo>
                    <a:lnTo>
                      <a:pt x="0" y="16518"/>
                    </a:ln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03" name="iṣľiḓé"/>
              <p:cNvSpPr/>
              <p:nvPr/>
            </p:nvSpPr>
            <p:spPr>
              <a:xfrm>
                <a:off x="3747697" y="385313"/>
                <a:ext cx="131943" cy="4549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cubicBezTo>
                      <a:pt x="1543" y="3240"/>
                      <a:pt x="19286" y="9720"/>
                      <a:pt x="20057" y="9720"/>
                    </a:cubicBezTo>
                    <a:cubicBezTo>
                      <a:pt x="21214" y="9720"/>
                      <a:pt x="21600" y="11880"/>
                      <a:pt x="21600" y="14040"/>
                    </a:cubicBezTo>
                    <a:cubicBezTo>
                      <a:pt x="21600" y="19440"/>
                      <a:pt x="16971" y="21600"/>
                      <a:pt x="14271" y="21600"/>
                    </a:cubicBezTo>
                    <a:cubicBezTo>
                      <a:pt x="9643" y="21600"/>
                      <a:pt x="1543" y="15120"/>
                      <a:pt x="1543" y="324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04" name="î$ḻiḓé"/>
              <p:cNvSpPr/>
              <p:nvPr/>
            </p:nvSpPr>
            <p:spPr>
              <a:xfrm>
                <a:off x="3559611" y="451652"/>
                <a:ext cx="28074" cy="2464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18081" extrusionOk="0">
                    <a:moveTo>
                      <a:pt x="21600" y="8112"/>
                    </a:moveTo>
                    <a:cubicBezTo>
                      <a:pt x="21600" y="14758"/>
                      <a:pt x="14400" y="18081"/>
                      <a:pt x="9000" y="18081"/>
                    </a:cubicBezTo>
                    <a:cubicBezTo>
                      <a:pt x="0" y="18081"/>
                      <a:pt x="0" y="14758"/>
                      <a:pt x="0" y="8112"/>
                    </a:cubicBezTo>
                    <a:cubicBezTo>
                      <a:pt x="0" y="-3519"/>
                      <a:pt x="21600" y="-1857"/>
                      <a:pt x="21600" y="8112"/>
                    </a:cubicBezTo>
                    <a:close/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lnSpc>
                    <a:spcPct val="80000"/>
                  </a:lnSpc>
                </a:pPr>
                <a:endParaRPr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</p:grpSp>
      </p:grpSp>
      <p:sp>
        <p:nvSpPr>
          <p:cNvPr id="305" name="Circle"/>
          <p:cNvSpPr/>
          <p:nvPr/>
        </p:nvSpPr>
        <p:spPr>
          <a:xfrm>
            <a:off x="7048075" y="3597033"/>
            <a:ext cx="91148" cy="86003"/>
          </a:xfrm>
          <a:prstGeom prst="ellipse">
            <a:avLst/>
          </a:prstGeom>
          <a:solidFill>
            <a:srgbClr val="C00000"/>
          </a:solidFill>
          <a:ln w="38100">
            <a:solidFill>
              <a:srgbClr val="FF9596"/>
            </a:solidFill>
            <a:miter/>
          </a:ln>
        </p:spPr>
        <p:txBody>
          <a:bodyPr lIns="45719" rIns="45719" anchor="ctr"/>
          <a:lstStyle/>
          <a:p>
            <a:endParaRPr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307" name="Line"/>
          <p:cNvSpPr/>
          <p:nvPr/>
        </p:nvSpPr>
        <p:spPr>
          <a:xfrm flipV="1">
            <a:off x="7155382" y="3561952"/>
            <a:ext cx="601560" cy="70613"/>
          </a:xfrm>
          <a:prstGeom prst="line">
            <a:avLst/>
          </a:prstGeom>
          <a:ln w="12700">
            <a:solidFill>
              <a:srgbClr val="D0070D"/>
            </a:solidFill>
            <a:miter/>
          </a:ln>
        </p:spPr>
        <p:txBody>
          <a:bodyPr lIns="45719" rIns="45719"/>
          <a:lstStyle/>
          <a:p>
            <a:endParaRPr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grpSp>
        <p:nvGrpSpPr>
          <p:cNvPr id="308" name="组合 307"/>
          <p:cNvGrpSpPr/>
          <p:nvPr/>
        </p:nvGrpSpPr>
        <p:grpSpPr>
          <a:xfrm>
            <a:off x="7763470" y="2708271"/>
            <a:ext cx="3441941" cy="2008900"/>
            <a:chOff x="8839278" y="2588187"/>
            <a:chExt cx="3939123" cy="2299082"/>
          </a:xfrm>
        </p:grpSpPr>
        <p:sp>
          <p:nvSpPr>
            <p:cNvPr id="309" name="Rounded Rectangle"/>
            <p:cNvSpPr/>
            <p:nvPr/>
          </p:nvSpPr>
          <p:spPr>
            <a:xfrm>
              <a:off x="8839278" y="2588187"/>
              <a:ext cx="3939123" cy="2299082"/>
            </a:xfrm>
            <a:prstGeom prst="roundRect">
              <a:avLst>
                <a:gd name="adj" fmla="val 10194"/>
              </a:avLst>
            </a:prstGeom>
            <a:solidFill>
              <a:srgbClr val="FFFFFF">
                <a:alpha val="48763"/>
              </a:srgbClr>
            </a:solidFill>
            <a:ln w="12700">
              <a:solidFill>
                <a:srgbClr val="000000">
                  <a:alpha val="48763"/>
                </a:srgbClr>
              </a:solidFill>
              <a:miter lim="400000"/>
            </a:ln>
          </p:spPr>
          <p:txBody>
            <a:bodyPr lIns="45719" rIns="45719" anchor="ctr"/>
            <a:lstStyle/>
            <a:p>
              <a:endParaRPr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310" name="îšľîḓé"/>
            <p:cNvSpPr txBox="1"/>
            <p:nvPr/>
          </p:nvSpPr>
          <p:spPr>
            <a:xfrm>
              <a:off x="8943217" y="2680523"/>
              <a:ext cx="1585812" cy="337813"/>
            </a:xfrm>
            <a:prstGeom prst="rect">
              <a:avLst/>
            </a:prstGeom>
            <a:ln w="12700">
              <a:miter lim="400000"/>
            </a:ln>
          </p:spPr>
          <p:txBody>
            <a:bodyPr lIns="45719" rIns="45719" anchor="b">
              <a:normAutofit/>
            </a:bodyPr>
            <a:lstStyle>
              <a:lvl1pPr defTabSz="868680">
                <a:defRPr sz="1615" b="1"/>
              </a:lvl1pPr>
            </a:lstStyle>
            <a:p>
              <a:r>
                <a:rPr lang="en-US" altLang="zh-CN" sz="1300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Asia-Pacific</a:t>
              </a:r>
            </a:p>
          </p:txBody>
        </p:sp>
        <p:sp>
          <p:nvSpPr>
            <p:cNvPr id="311" name="9AM  - 6PM…"/>
            <p:cNvSpPr txBox="1"/>
            <p:nvPr/>
          </p:nvSpPr>
          <p:spPr>
            <a:xfrm>
              <a:off x="8988022" y="3106271"/>
              <a:ext cx="2586150" cy="246564"/>
            </a:xfrm>
            <a:prstGeom prst="rect">
              <a:avLst/>
            </a:prstGeom>
            <a:ln w="12700">
              <a:miter lim="400000"/>
            </a:ln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50000"/>
                </a:lnSpc>
                <a:spcBef>
                  <a:spcPts val="600"/>
                </a:spcBef>
                <a:defRPr sz="1000">
                  <a:solidFill>
                    <a:srgbClr val="D0040D"/>
                  </a:solidFill>
                  <a:latin typeface="Arial" panose="020B0604020202020204"/>
                  <a:ea typeface="Arial" panose="020B0604020202020204"/>
                  <a:cs typeface="Arial" panose="020B0604020202020204"/>
                  <a:sym typeface="Arial" panose="020B0604020202020204"/>
                </a:defRPr>
              </a:pPr>
              <a:r>
                <a:rPr lang="en-US" altLang="zh-CN" sz="900" spc="3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English Speaking Service</a:t>
              </a:r>
            </a:p>
            <a:p>
              <a:pPr>
                <a:lnSpc>
                  <a:spcPct val="50000"/>
                </a:lnSpc>
                <a:spcBef>
                  <a:spcPts val="600"/>
                </a:spcBef>
                <a:defRPr sz="1000">
                  <a:solidFill>
                    <a:srgbClr val="D0040D"/>
                  </a:solidFill>
                  <a:latin typeface="Arial" panose="020B0604020202020204"/>
                  <a:ea typeface="Arial" panose="020B0604020202020204"/>
                  <a:cs typeface="Arial" panose="020B0604020202020204"/>
                  <a:sym typeface="Arial" panose="020B0604020202020204"/>
                </a:defRPr>
              </a:pPr>
              <a:endParaRPr lang="en-US" sz="900" spc="30" dirty="0">
                <a:solidFill>
                  <a:schemeClr val="tx1">
                    <a:lumMod val="75000"/>
                    <a:lumOff val="2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312" name="Line"/>
            <p:cNvSpPr/>
            <p:nvPr/>
          </p:nvSpPr>
          <p:spPr>
            <a:xfrm>
              <a:off x="8989092" y="2990030"/>
              <a:ext cx="1471941" cy="12208"/>
            </a:xfrm>
            <a:prstGeom prst="line">
              <a:avLst/>
            </a:prstGeom>
            <a:ln w="12700">
              <a:solidFill>
                <a:srgbClr val="D0070D"/>
              </a:solidFill>
              <a:miter/>
            </a:ln>
          </p:spPr>
          <p:txBody>
            <a:bodyPr lIns="45719" rIns="45719"/>
            <a:lstStyle/>
            <a:p>
              <a:endParaRPr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313" name="9AM  - 6PM…"/>
            <p:cNvSpPr txBox="1"/>
            <p:nvPr/>
          </p:nvSpPr>
          <p:spPr>
            <a:xfrm>
              <a:off x="8988018" y="3343992"/>
              <a:ext cx="3625563" cy="1479385"/>
            </a:xfrm>
            <a:prstGeom prst="rect">
              <a:avLst/>
            </a:prstGeom>
            <a:ln w="12700">
              <a:miter lim="400000"/>
            </a:ln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ts val="900"/>
                </a:lnSpc>
                <a:spcBef>
                  <a:spcPts val="600"/>
                </a:spcBef>
                <a:defRPr sz="1000">
                  <a:solidFill>
                    <a:srgbClr val="D0040D"/>
                  </a:solidFill>
                  <a:latin typeface="Arial" panose="020B0604020202020204"/>
                  <a:ea typeface="Arial" panose="020B0604020202020204"/>
                  <a:cs typeface="Arial" panose="020B0604020202020204"/>
                  <a:sym typeface="Arial" panose="020B0604020202020204"/>
                </a:defRPr>
              </a:pPr>
              <a:r>
                <a:rPr lang="en-US" altLang="zh-CN" sz="900" b="1" spc="3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Philippines</a:t>
              </a:r>
              <a:r>
                <a:rPr lang="zh-CN" altLang="en-US" sz="900" b="1" spc="3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：</a:t>
              </a:r>
              <a:r>
                <a:rPr lang="en-US" altLang="zh-CN" sz="900" b="1" spc="3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(+63)</a:t>
              </a:r>
              <a:r>
                <a:rPr lang="en-US" sz="900" b="1" spc="3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180 013 220 501</a:t>
              </a:r>
            </a:p>
            <a:p>
              <a:pPr>
                <a:lnSpc>
                  <a:spcPts val="900"/>
                </a:lnSpc>
                <a:spcBef>
                  <a:spcPts val="600"/>
                </a:spcBef>
                <a:defRPr sz="1000">
                  <a:solidFill>
                    <a:srgbClr val="D0040D"/>
                  </a:solidFill>
                  <a:latin typeface="Arial" panose="020B0604020202020204"/>
                  <a:ea typeface="Arial" panose="020B0604020202020204"/>
                  <a:cs typeface="Arial" panose="020B0604020202020204"/>
                  <a:sym typeface="Arial" panose="020B0604020202020204"/>
                </a:defRPr>
              </a:pPr>
              <a:r>
                <a:rPr lang="en-US" altLang="zh-CN" sz="900" b="1" spc="3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Indonesia</a:t>
              </a:r>
              <a:r>
                <a:rPr lang="zh-CN" altLang="en-US" sz="900" b="1" spc="3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：</a:t>
              </a:r>
              <a:r>
                <a:rPr lang="en-US" altLang="zh-CN" sz="900" b="1" spc="3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(+62)</a:t>
              </a:r>
              <a:r>
                <a:rPr lang="en-US" sz="900" b="1" spc="3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800 150 3096</a:t>
              </a:r>
            </a:p>
            <a:p>
              <a:pPr>
                <a:lnSpc>
                  <a:spcPts val="900"/>
                </a:lnSpc>
                <a:spcBef>
                  <a:spcPts val="600"/>
                </a:spcBef>
                <a:defRPr sz="1000">
                  <a:solidFill>
                    <a:srgbClr val="D0040D"/>
                  </a:solidFill>
                  <a:latin typeface="Arial" panose="020B0604020202020204"/>
                  <a:ea typeface="Arial" panose="020B0604020202020204"/>
                  <a:cs typeface="Arial" panose="020B0604020202020204"/>
                  <a:sym typeface="Arial" panose="020B0604020202020204"/>
                </a:defRPr>
              </a:pPr>
              <a:r>
                <a:rPr lang="en-US" sz="900" b="1" spc="3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Malaysia</a:t>
              </a:r>
              <a:r>
                <a:rPr lang="zh-CN" altLang="en-US" sz="900" b="1" spc="3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：</a:t>
              </a:r>
              <a:r>
                <a:rPr lang="en-US" altLang="zh-CN" sz="900" b="1" spc="3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(+60)</a:t>
              </a:r>
              <a:r>
                <a:rPr lang="en-US" sz="900" b="1" spc="3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180 081 3784</a:t>
              </a:r>
            </a:p>
            <a:p>
              <a:pPr>
                <a:lnSpc>
                  <a:spcPts val="900"/>
                </a:lnSpc>
                <a:spcBef>
                  <a:spcPts val="600"/>
                </a:spcBef>
                <a:defRPr sz="1000">
                  <a:solidFill>
                    <a:srgbClr val="D0040D"/>
                  </a:solidFill>
                  <a:latin typeface="Arial" panose="020B0604020202020204"/>
                  <a:ea typeface="Arial" panose="020B0604020202020204"/>
                  <a:cs typeface="Arial" panose="020B0604020202020204"/>
                  <a:sym typeface="Arial" panose="020B0604020202020204"/>
                </a:defRPr>
              </a:pPr>
              <a:r>
                <a:rPr lang="en-US" sz="900" b="1" spc="3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Thailand</a:t>
              </a:r>
              <a:r>
                <a:rPr lang="zh-CN" altLang="en-US" sz="900" b="1" spc="3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： </a:t>
              </a:r>
              <a:r>
                <a:rPr lang="en-US" altLang="zh-CN" sz="900" b="1" spc="3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(+66)</a:t>
              </a:r>
              <a:r>
                <a:rPr lang="en-US" sz="900" b="1" spc="3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180 001 4687</a:t>
              </a:r>
            </a:p>
            <a:p>
              <a:pPr>
                <a:lnSpc>
                  <a:spcPts val="900"/>
                </a:lnSpc>
                <a:spcBef>
                  <a:spcPts val="600"/>
                </a:spcBef>
                <a:defRPr sz="1000">
                  <a:solidFill>
                    <a:srgbClr val="D0040D"/>
                  </a:solidFill>
                  <a:latin typeface="Arial" panose="020B0604020202020204"/>
                  <a:ea typeface="Arial" panose="020B0604020202020204"/>
                  <a:cs typeface="Arial" panose="020B0604020202020204"/>
                  <a:sym typeface="Arial" panose="020B0604020202020204"/>
                </a:defRPr>
              </a:pPr>
              <a:r>
                <a:rPr lang="en-US" altLang="zh-CN" sz="900" b="1" spc="3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China Hong Kong</a:t>
              </a:r>
              <a:r>
                <a:rPr lang="zh-CN" altLang="en-US" sz="900" b="1" spc="3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：</a:t>
              </a:r>
              <a:r>
                <a:rPr lang="en-US" altLang="zh-CN" sz="900" b="1" spc="3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(+852) </a:t>
              </a:r>
              <a:r>
                <a:rPr lang="en-US" sz="900" b="1" spc="3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800 969 </a:t>
              </a:r>
              <a:r>
                <a:rPr lang="en-US" sz="900" b="1" spc="3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178</a:t>
              </a:r>
            </a:p>
            <a:p>
              <a:pPr>
                <a:lnSpc>
                  <a:spcPts val="900"/>
                </a:lnSpc>
                <a:spcBef>
                  <a:spcPts val="600"/>
                </a:spcBef>
                <a:defRPr sz="1000">
                  <a:solidFill>
                    <a:srgbClr val="D0040D"/>
                  </a:solidFill>
                  <a:latin typeface="Arial" panose="020B0604020202020204"/>
                  <a:ea typeface="Arial" panose="020B0604020202020204"/>
                  <a:cs typeface="Arial" panose="020B0604020202020204"/>
                  <a:sym typeface="Arial" panose="020B0604020202020204"/>
                </a:defRPr>
              </a:pPr>
              <a:r>
                <a:rPr lang="en-US" altLang="zh-CN" sz="900" b="1" spc="3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Arial" panose="020B0604020202020204"/>
                </a:rPr>
                <a:t>Vietnam: </a:t>
              </a:r>
              <a:r>
                <a:rPr lang="zh-CN" altLang="en-US" sz="900" b="1" spc="3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Arial" panose="020B0604020202020204"/>
                </a:rPr>
                <a:t> </a:t>
              </a:r>
              <a:r>
                <a:rPr lang="en-US" altLang="zh-CN" sz="900" b="1" spc="3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Arial" panose="020B0604020202020204"/>
                </a:rPr>
                <a:t>(+84) 180 081 60</a:t>
              </a:r>
              <a:endParaRPr lang="en-US" sz="900" b="1" spc="30" dirty="0">
                <a:solidFill>
                  <a:schemeClr val="tx1">
                    <a:lumMod val="75000"/>
                    <a:lumOff val="2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  <a:p>
              <a:pPr>
                <a:spcBef>
                  <a:spcPts val="600"/>
                </a:spcBef>
                <a:defRPr sz="1000">
                  <a:solidFill>
                    <a:srgbClr val="D0040D"/>
                  </a:solidFill>
                  <a:latin typeface="Arial" panose="020B0604020202020204"/>
                  <a:ea typeface="Arial" panose="020B0604020202020204"/>
                  <a:cs typeface="Arial" panose="020B0604020202020204"/>
                  <a:sym typeface="Arial" panose="020B0604020202020204"/>
                </a:defRPr>
              </a:pPr>
              <a:r>
                <a:rPr lang="en-US" sz="900" i="1" spc="3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* </a:t>
              </a:r>
              <a:r>
                <a:rPr lang="en-US" altLang="zh-CN" sz="900" i="1" spc="3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The hotlines are available for all Asia-Pacific countries.</a:t>
              </a:r>
              <a:endParaRPr lang="en-US" sz="900" i="1" spc="30" dirty="0">
                <a:solidFill>
                  <a:schemeClr val="tx1">
                    <a:lumMod val="75000"/>
                    <a:lumOff val="2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</p:grpSp>
      <p:grpSp>
        <p:nvGrpSpPr>
          <p:cNvPr id="314" name="组合 313"/>
          <p:cNvGrpSpPr/>
          <p:nvPr/>
        </p:nvGrpSpPr>
        <p:grpSpPr>
          <a:xfrm>
            <a:off x="3963435" y="4102564"/>
            <a:ext cx="3234590" cy="1426503"/>
            <a:chOff x="8839279" y="2389140"/>
            <a:chExt cx="3701821" cy="1632560"/>
          </a:xfrm>
        </p:grpSpPr>
        <p:sp>
          <p:nvSpPr>
            <p:cNvPr id="315" name="Rounded Rectangle"/>
            <p:cNvSpPr/>
            <p:nvPr/>
          </p:nvSpPr>
          <p:spPr>
            <a:xfrm>
              <a:off x="8839279" y="2389140"/>
              <a:ext cx="3701821" cy="1632560"/>
            </a:xfrm>
            <a:prstGeom prst="roundRect">
              <a:avLst>
                <a:gd name="adj" fmla="val 10194"/>
              </a:avLst>
            </a:prstGeom>
            <a:solidFill>
              <a:srgbClr val="FFFFFF">
                <a:alpha val="48763"/>
              </a:srgbClr>
            </a:solidFill>
            <a:ln w="12700">
              <a:solidFill>
                <a:srgbClr val="000000">
                  <a:alpha val="48763"/>
                </a:srgbClr>
              </a:solidFill>
              <a:miter lim="400000"/>
            </a:ln>
          </p:spPr>
          <p:txBody>
            <a:bodyPr lIns="45719" rIns="45719" anchor="ctr"/>
            <a:lstStyle/>
            <a:p>
              <a:endParaRPr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316" name="îšľîḓé"/>
            <p:cNvSpPr txBox="1"/>
            <p:nvPr/>
          </p:nvSpPr>
          <p:spPr>
            <a:xfrm>
              <a:off x="8943217" y="2450652"/>
              <a:ext cx="2118458" cy="337813"/>
            </a:xfrm>
            <a:prstGeom prst="rect">
              <a:avLst/>
            </a:prstGeom>
            <a:ln w="12700">
              <a:miter lim="400000"/>
            </a:ln>
          </p:spPr>
          <p:txBody>
            <a:bodyPr lIns="45719" rIns="45719" anchor="b">
              <a:noAutofit/>
            </a:bodyPr>
            <a:lstStyle>
              <a:lvl1pPr defTabSz="868680">
                <a:defRPr sz="1615" b="1"/>
              </a:lvl1pPr>
            </a:lstStyle>
            <a:p>
              <a:r>
                <a:rPr lang="en-US" altLang="zh-CN" sz="1300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META-UK</a:t>
              </a:r>
            </a:p>
          </p:txBody>
        </p:sp>
        <p:sp>
          <p:nvSpPr>
            <p:cNvPr id="317" name="9AM  - 6PM…"/>
            <p:cNvSpPr txBox="1"/>
            <p:nvPr/>
          </p:nvSpPr>
          <p:spPr>
            <a:xfrm>
              <a:off x="8988022" y="2876399"/>
              <a:ext cx="2665846" cy="246563"/>
            </a:xfrm>
            <a:prstGeom prst="rect">
              <a:avLst/>
            </a:prstGeom>
            <a:ln w="12700">
              <a:miter lim="400000"/>
            </a:ln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50000"/>
                </a:lnSpc>
                <a:spcBef>
                  <a:spcPts val="600"/>
                </a:spcBef>
                <a:defRPr sz="1000">
                  <a:solidFill>
                    <a:srgbClr val="D0040D"/>
                  </a:solidFill>
                  <a:latin typeface="Arial" panose="020B0604020202020204"/>
                  <a:ea typeface="Arial" panose="020B0604020202020204"/>
                  <a:cs typeface="Arial" panose="020B0604020202020204"/>
                  <a:sym typeface="Arial" panose="020B0604020202020204"/>
                </a:defRPr>
              </a:pPr>
              <a:r>
                <a:rPr lang="en-US" altLang="zh-CN" sz="900" spc="3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English Speaking Service</a:t>
              </a:r>
            </a:p>
            <a:p>
              <a:pPr>
                <a:lnSpc>
                  <a:spcPct val="50000"/>
                </a:lnSpc>
                <a:spcBef>
                  <a:spcPts val="600"/>
                </a:spcBef>
                <a:defRPr sz="1000">
                  <a:solidFill>
                    <a:srgbClr val="D0040D"/>
                  </a:solidFill>
                  <a:latin typeface="Arial" panose="020B0604020202020204"/>
                  <a:ea typeface="Arial" panose="020B0604020202020204"/>
                  <a:cs typeface="Arial" panose="020B0604020202020204"/>
                  <a:sym typeface="Arial" panose="020B0604020202020204"/>
                </a:defRPr>
              </a:pPr>
              <a:endParaRPr lang="en-US" sz="900" spc="30" dirty="0">
                <a:solidFill>
                  <a:schemeClr val="tx1">
                    <a:lumMod val="75000"/>
                    <a:lumOff val="2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318" name="Line"/>
            <p:cNvSpPr/>
            <p:nvPr/>
          </p:nvSpPr>
          <p:spPr>
            <a:xfrm>
              <a:off x="8989092" y="2760159"/>
              <a:ext cx="1471941" cy="12208"/>
            </a:xfrm>
            <a:prstGeom prst="line">
              <a:avLst/>
            </a:prstGeom>
            <a:ln w="12700">
              <a:solidFill>
                <a:srgbClr val="D0070D"/>
              </a:solidFill>
              <a:miter/>
            </a:ln>
          </p:spPr>
          <p:txBody>
            <a:bodyPr lIns="45719" rIns="45719"/>
            <a:lstStyle/>
            <a:p>
              <a:endParaRPr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319" name="9AM  - 6PM…"/>
            <p:cNvSpPr txBox="1"/>
            <p:nvPr/>
          </p:nvSpPr>
          <p:spPr>
            <a:xfrm>
              <a:off x="8988021" y="3133402"/>
              <a:ext cx="3467245" cy="818946"/>
            </a:xfrm>
            <a:prstGeom prst="rect">
              <a:avLst/>
            </a:prstGeom>
            <a:ln w="12700">
              <a:miter lim="400000"/>
            </a:ln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ts val="900"/>
                </a:lnSpc>
                <a:spcBef>
                  <a:spcPts val="600"/>
                </a:spcBef>
                <a:defRPr sz="1000">
                  <a:solidFill>
                    <a:srgbClr val="D0040D"/>
                  </a:solidFill>
                  <a:latin typeface="Arial" panose="020B0604020202020204"/>
                  <a:ea typeface="Arial" panose="020B0604020202020204"/>
                  <a:cs typeface="Arial" panose="020B0604020202020204"/>
                  <a:sym typeface="Arial" panose="020B0604020202020204"/>
                </a:defRPr>
              </a:pPr>
              <a:r>
                <a:rPr lang="en-US" altLang="zh-CN" sz="900" b="1" spc="3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Türkiye</a:t>
              </a:r>
              <a:r>
                <a:rPr lang="zh-CN" altLang="en-US" sz="900" b="1" spc="3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：</a:t>
              </a:r>
              <a:r>
                <a:rPr lang="en-US" altLang="zh-CN" sz="900" b="1" spc="3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(+90)800 621 2545</a:t>
              </a:r>
            </a:p>
            <a:p>
              <a:pPr>
                <a:lnSpc>
                  <a:spcPts val="900"/>
                </a:lnSpc>
                <a:spcBef>
                  <a:spcPts val="600"/>
                </a:spcBef>
                <a:defRPr sz="1000">
                  <a:solidFill>
                    <a:srgbClr val="D0040D"/>
                  </a:solidFill>
                  <a:latin typeface="Arial" panose="020B0604020202020204"/>
                  <a:ea typeface="Arial" panose="020B0604020202020204"/>
                  <a:cs typeface="Arial" panose="020B0604020202020204"/>
                  <a:sym typeface="Arial" panose="020B0604020202020204"/>
                </a:defRPr>
              </a:pPr>
              <a:r>
                <a:rPr lang="en-US" altLang="zh-CN" sz="900" b="1" spc="3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Saudi Arabia</a:t>
              </a:r>
              <a:r>
                <a:rPr lang="zh-CN" altLang="en-US" sz="900" b="1" spc="3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： </a:t>
              </a:r>
              <a:r>
                <a:rPr lang="en-US" altLang="zh-CN" sz="900" b="1" spc="3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(+966) 800 891 </a:t>
              </a:r>
              <a:r>
                <a:rPr lang="en-US" altLang="zh-CN" sz="900" b="1" spc="3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2085</a:t>
              </a:r>
            </a:p>
            <a:p>
              <a:pPr>
                <a:lnSpc>
                  <a:spcPts val="900"/>
                </a:lnSpc>
                <a:spcBef>
                  <a:spcPts val="600"/>
                </a:spcBef>
                <a:defRPr sz="1000">
                  <a:solidFill>
                    <a:srgbClr val="D0040D"/>
                  </a:solidFill>
                  <a:latin typeface="Arial" panose="020B0604020202020204"/>
                  <a:ea typeface="Arial" panose="020B0604020202020204"/>
                  <a:cs typeface="Arial" panose="020B0604020202020204"/>
                  <a:sym typeface="Arial" panose="020B0604020202020204"/>
                </a:defRPr>
              </a:pPr>
              <a:r>
                <a:rPr lang="en-US" altLang="zh-CN" sz="900" b="1" spc="3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Arial" panose="020B0604020202020204"/>
                </a:rPr>
                <a:t>United Arab Emirates: (+971) 800 035 704 612</a:t>
              </a:r>
              <a:endParaRPr lang="en-US" altLang="zh-CN" sz="900" b="1" spc="30" dirty="0">
                <a:solidFill>
                  <a:schemeClr val="tx1">
                    <a:lumMod val="75000"/>
                    <a:lumOff val="2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  <a:p>
              <a:pPr>
                <a:spcBef>
                  <a:spcPts val="600"/>
                </a:spcBef>
                <a:defRPr sz="1000">
                  <a:solidFill>
                    <a:srgbClr val="D0040D"/>
                  </a:solidFill>
                  <a:latin typeface="Arial" panose="020B0604020202020204"/>
                  <a:ea typeface="Arial" panose="020B0604020202020204"/>
                  <a:cs typeface="Arial" panose="020B0604020202020204"/>
                  <a:sym typeface="Arial" panose="020B0604020202020204"/>
                </a:defRPr>
              </a:pPr>
              <a:r>
                <a:rPr lang="en-US" sz="900" i="1" spc="3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* </a:t>
              </a:r>
              <a:r>
                <a:rPr lang="en-US" altLang="zh-CN" sz="900" i="1" spc="3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The hotline is available for all META-UK countries.</a:t>
              </a:r>
              <a:endParaRPr lang="en-US" sz="900" i="1" spc="30" dirty="0">
                <a:solidFill>
                  <a:schemeClr val="tx1">
                    <a:lumMod val="75000"/>
                    <a:lumOff val="2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</p:grpSp>
      <p:sp>
        <p:nvSpPr>
          <p:cNvPr id="320" name="Circle"/>
          <p:cNvSpPr/>
          <p:nvPr/>
        </p:nvSpPr>
        <p:spPr>
          <a:xfrm>
            <a:off x="5824371" y="3914893"/>
            <a:ext cx="91148" cy="86003"/>
          </a:xfrm>
          <a:prstGeom prst="ellipse">
            <a:avLst/>
          </a:prstGeom>
          <a:solidFill>
            <a:srgbClr val="C00000"/>
          </a:solidFill>
          <a:ln w="38100">
            <a:solidFill>
              <a:srgbClr val="FF9596"/>
            </a:solidFill>
            <a:miter/>
          </a:ln>
        </p:spPr>
        <p:txBody>
          <a:bodyPr lIns="45719" rIns="45719" anchor="ctr"/>
          <a:lstStyle/>
          <a:p>
            <a:endParaRPr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321" name="Line"/>
          <p:cNvSpPr/>
          <p:nvPr/>
        </p:nvSpPr>
        <p:spPr>
          <a:xfrm flipV="1">
            <a:off x="5337571" y="3970372"/>
            <a:ext cx="473911" cy="135583"/>
          </a:xfrm>
          <a:prstGeom prst="line">
            <a:avLst/>
          </a:prstGeom>
          <a:ln w="12700">
            <a:solidFill>
              <a:srgbClr val="D0070D"/>
            </a:solidFill>
            <a:miter/>
          </a:ln>
        </p:spPr>
        <p:txBody>
          <a:bodyPr lIns="45719" rIns="45719"/>
          <a:lstStyle/>
          <a:p>
            <a:endParaRPr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grpSp>
        <p:nvGrpSpPr>
          <p:cNvPr id="322" name="组合 321"/>
          <p:cNvGrpSpPr/>
          <p:nvPr/>
        </p:nvGrpSpPr>
        <p:grpSpPr>
          <a:xfrm>
            <a:off x="506490" y="3994685"/>
            <a:ext cx="2854290" cy="1395556"/>
            <a:chOff x="8839279" y="2588187"/>
            <a:chExt cx="3266587" cy="1597141"/>
          </a:xfrm>
        </p:grpSpPr>
        <p:sp>
          <p:nvSpPr>
            <p:cNvPr id="323" name="Rounded Rectangle"/>
            <p:cNvSpPr/>
            <p:nvPr/>
          </p:nvSpPr>
          <p:spPr>
            <a:xfrm>
              <a:off x="8839279" y="2588187"/>
              <a:ext cx="3266587" cy="1597141"/>
            </a:xfrm>
            <a:prstGeom prst="roundRect">
              <a:avLst>
                <a:gd name="adj" fmla="val 10194"/>
              </a:avLst>
            </a:prstGeom>
            <a:solidFill>
              <a:srgbClr val="FFFFFF">
                <a:alpha val="48763"/>
              </a:srgbClr>
            </a:solidFill>
            <a:ln w="12700">
              <a:solidFill>
                <a:srgbClr val="000000">
                  <a:alpha val="48763"/>
                </a:srgbClr>
              </a:solidFill>
              <a:miter lim="400000"/>
            </a:ln>
          </p:spPr>
          <p:txBody>
            <a:bodyPr lIns="45719" rIns="45719" anchor="ctr"/>
            <a:lstStyle/>
            <a:p>
              <a:endParaRPr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324" name="îšľîḓé"/>
            <p:cNvSpPr txBox="1"/>
            <p:nvPr/>
          </p:nvSpPr>
          <p:spPr>
            <a:xfrm>
              <a:off x="8943217" y="2680523"/>
              <a:ext cx="1585812" cy="337813"/>
            </a:xfrm>
            <a:prstGeom prst="rect">
              <a:avLst/>
            </a:prstGeom>
            <a:ln w="12700">
              <a:miter lim="400000"/>
            </a:ln>
          </p:spPr>
          <p:txBody>
            <a:bodyPr lIns="45719" rIns="45719" anchor="b">
              <a:normAutofit/>
            </a:bodyPr>
            <a:lstStyle>
              <a:lvl1pPr defTabSz="868680">
                <a:defRPr sz="1615" b="1"/>
              </a:lvl1pPr>
            </a:lstStyle>
            <a:p>
              <a:r>
                <a:rPr lang="en-US" altLang="zh-CN" sz="1300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Americas</a:t>
              </a:r>
            </a:p>
          </p:txBody>
        </p:sp>
        <p:sp>
          <p:nvSpPr>
            <p:cNvPr id="325" name="9AM  - 6PM…"/>
            <p:cNvSpPr txBox="1"/>
            <p:nvPr/>
          </p:nvSpPr>
          <p:spPr>
            <a:xfrm>
              <a:off x="8988021" y="3106271"/>
              <a:ext cx="2790073" cy="246564"/>
            </a:xfrm>
            <a:prstGeom prst="rect">
              <a:avLst/>
            </a:prstGeom>
            <a:ln w="12700">
              <a:miter lim="400000"/>
            </a:ln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50000"/>
                </a:lnSpc>
                <a:spcBef>
                  <a:spcPts val="600"/>
                </a:spcBef>
                <a:defRPr sz="1000">
                  <a:solidFill>
                    <a:srgbClr val="D0040D"/>
                  </a:solidFill>
                  <a:latin typeface="Arial" panose="020B0604020202020204"/>
                  <a:ea typeface="Arial" panose="020B0604020202020204"/>
                  <a:cs typeface="Arial" panose="020B0604020202020204"/>
                  <a:sym typeface="Arial" panose="020B0604020202020204"/>
                </a:defRPr>
              </a:pPr>
              <a:r>
                <a:rPr lang="en-US" altLang="zh-CN" sz="900" spc="3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English/Spanish Speaking Service</a:t>
              </a:r>
            </a:p>
            <a:p>
              <a:pPr>
                <a:lnSpc>
                  <a:spcPct val="50000"/>
                </a:lnSpc>
                <a:spcBef>
                  <a:spcPts val="600"/>
                </a:spcBef>
                <a:defRPr sz="1000">
                  <a:solidFill>
                    <a:srgbClr val="D0040D"/>
                  </a:solidFill>
                  <a:latin typeface="Arial" panose="020B0604020202020204"/>
                  <a:ea typeface="Arial" panose="020B0604020202020204"/>
                  <a:cs typeface="Arial" panose="020B0604020202020204"/>
                  <a:sym typeface="Arial" panose="020B0604020202020204"/>
                </a:defRPr>
              </a:pPr>
              <a:endParaRPr lang="en-US" sz="900" spc="30" dirty="0">
                <a:solidFill>
                  <a:schemeClr val="tx1">
                    <a:lumMod val="75000"/>
                    <a:lumOff val="2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326" name="Line"/>
            <p:cNvSpPr/>
            <p:nvPr/>
          </p:nvSpPr>
          <p:spPr>
            <a:xfrm>
              <a:off x="8989092" y="2990030"/>
              <a:ext cx="1471941" cy="12208"/>
            </a:xfrm>
            <a:prstGeom prst="line">
              <a:avLst/>
            </a:prstGeom>
            <a:ln w="12700">
              <a:solidFill>
                <a:srgbClr val="D0070D"/>
              </a:solidFill>
              <a:miter/>
            </a:ln>
          </p:spPr>
          <p:txBody>
            <a:bodyPr lIns="45719" rIns="45719"/>
            <a:lstStyle/>
            <a:p>
              <a:endParaRPr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327" name="9AM  - 6PM…"/>
            <p:cNvSpPr txBox="1"/>
            <p:nvPr/>
          </p:nvSpPr>
          <p:spPr>
            <a:xfrm>
              <a:off x="8988023" y="3357076"/>
              <a:ext cx="3077483" cy="757304"/>
            </a:xfrm>
            <a:prstGeom prst="rect">
              <a:avLst/>
            </a:prstGeom>
            <a:ln w="12700">
              <a:miter lim="400000"/>
            </a:ln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ts val="900"/>
                </a:lnSpc>
                <a:spcBef>
                  <a:spcPts val="600"/>
                </a:spcBef>
                <a:defRPr sz="1000">
                  <a:solidFill>
                    <a:srgbClr val="D0040D"/>
                  </a:solidFill>
                  <a:latin typeface="Arial" panose="020B0604020202020204"/>
                  <a:ea typeface="Arial" panose="020B0604020202020204"/>
                  <a:cs typeface="Arial" panose="020B0604020202020204"/>
                  <a:sym typeface="Arial" panose="020B0604020202020204"/>
                </a:defRPr>
              </a:pPr>
              <a:r>
                <a:rPr lang="en-US" altLang="zh-CN" sz="900" b="1" spc="3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Arial" panose="020B0604020202020204"/>
                </a:rPr>
                <a:t>Mexico: </a:t>
              </a:r>
              <a:r>
                <a:rPr lang="en-US" altLang="zh-CN" sz="900" b="1" spc="3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(+52)800 461 0659</a:t>
              </a:r>
            </a:p>
            <a:p>
              <a:pPr>
                <a:lnSpc>
                  <a:spcPts val="900"/>
                </a:lnSpc>
                <a:spcBef>
                  <a:spcPts val="600"/>
                </a:spcBef>
                <a:defRPr sz="1000">
                  <a:solidFill>
                    <a:srgbClr val="D0040D"/>
                  </a:solidFill>
                  <a:latin typeface="Arial" panose="020B0604020202020204"/>
                  <a:ea typeface="Arial" panose="020B0604020202020204"/>
                  <a:cs typeface="Arial" panose="020B0604020202020204"/>
                  <a:sym typeface="Arial" panose="020B0604020202020204"/>
                </a:defRPr>
              </a:pPr>
              <a:r>
                <a:rPr lang="en-US" altLang="zh-CN" sz="900" b="1" spc="3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Arial" panose="020B0604020202020204"/>
                </a:rPr>
                <a:t>Brazil: (+55) 800 042 007</a:t>
              </a:r>
              <a:endParaRPr lang="en-US" altLang="zh-CN" sz="900" b="1" spc="30" dirty="0">
                <a:solidFill>
                  <a:schemeClr val="tx1">
                    <a:lumMod val="75000"/>
                    <a:lumOff val="2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  <a:p>
              <a:pPr>
                <a:spcBef>
                  <a:spcPts val="600"/>
                </a:spcBef>
                <a:defRPr sz="1000">
                  <a:solidFill>
                    <a:srgbClr val="D0040D"/>
                  </a:solidFill>
                  <a:latin typeface="Arial" panose="020B0604020202020204"/>
                  <a:ea typeface="Arial" panose="020B0604020202020204"/>
                  <a:cs typeface="Arial" panose="020B0604020202020204"/>
                  <a:sym typeface="Arial" panose="020B0604020202020204"/>
                </a:defRPr>
              </a:pPr>
              <a:r>
                <a:rPr lang="en-US" sz="900" i="1" spc="3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* </a:t>
              </a:r>
              <a:r>
                <a:rPr lang="en-US" altLang="zh-CN" sz="900" i="1" spc="3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The hotline is available for all American countries.</a:t>
              </a:r>
              <a:endParaRPr lang="en-US" sz="900" i="1" spc="30" dirty="0">
                <a:solidFill>
                  <a:schemeClr val="tx1">
                    <a:lumMod val="75000"/>
                    <a:lumOff val="2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</p:grpSp>
      <p:sp>
        <p:nvSpPr>
          <p:cNvPr id="328" name="Circle"/>
          <p:cNvSpPr/>
          <p:nvPr/>
        </p:nvSpPr>
        <p:spPr>
          <a:xfrm>
            <a:off x="3533130" y="4391644"/>
            <a:ext cx="91148" cy="86003"/>
          </a:xfrm>
          <a:prstGeom prst="ellipse">
            <a:avLst/>
          </a:prstGeom>
          <a:solidFill>
            <a:srgbClr val="C00000"/>
          </a:solidFill>
          <a:ln w="38100">
            <a:solidFill>
              <a:srgbClr val="FF9596"/>
            </a:solidFill>
            <a:miter/>
          </a:ln>
        </p:spPr>
        <p:txBody>
          <a:bodyPr lIns="45719" rIns="45719" anchor="ctr"/>
          <a:lstStyle/>
          <a:p>
            <a:endParaRPr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329" name="Line"/>
          <p:cNvSpPr/>
          <p:nvPr/>
        </p:nvSpPr>
        <p:spPr>
          <a:xfrm flipH="1" flipV="1">
            <a:off x="3364635" y="4184065"/>
            <a:ext cx="172828" cy="207579"/>
          </a:xfrm>
          <a:prstGeom prst="line">
            <a:avLst/>
          </a:prstGeom>
          <a:ln w="12700">
            <a:solidFill>
              <a:srgbClr val="D0070D"/>
            </a:solidFill>
            <a:miter/>
          </a:ln>
        </p:spPr>
        <p:txBody>
          <a:bodyPr lIns="45719" rIns="45719"/>
          <a:lstStyle/>
          <a:p>
            <a:endParaRPr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grpSp>
        <p:nvGrpSpPr>
          <p:cNvPr id="330" name="组合 329"/>
          <p:cNvGrpSpPr/>
          <p:nvPr/>
        </p:nvGrpSpPr>
        <p:grpSpPr>
          <a:xfrm>
            <a:off x="2079602" y="2453441"/>
            <a:ext cx="2830583" cy="1310164"/>
            <a:chOff x="8133048" y="2845956"/>
            <a:chExt cx="3239456" cy="1499415"/>
          </a:xfrm>
        </p:grpSpPr>
        <p:sp>
          <p:nvSpPr>
            <p:cNvPr id="331" name="Rounded Rectangle"/>
            <p:cNvSpPr/>
            <p:nvPr/>
          </p:nvSpPr>
          <p:spPr>
            <a:xfrm>
              <a:off x="8133048" y="2845956"/>
              <a:ext cx="3239456" cy="1499415"/>
            </a:xfrm>
            <a:prstGeom prst="roundRect">
              <a:avLst>
                <a:gd name="adj" fmla="val 10194"/>
              </a:avLst>
            </a:prstGeom>
            <a:solidFill>
              <a:srgbClr val="FFFFFF">
                <a:alpha val="48763"/>
              </a:srgbClr>
            </a:solidFill>
            <a:ln w="12700">
              <a:solidFill>
                <a:srgbClr val="000000">
                  <a:alpha val="48763"/>
                </a:srgbClr>
              </a:solidFill>
              <a:miter lim="400000"/>
            </a:ln>
          </p:spPr>
          <p:txBody>
            <a:bodyPr lIns="45719" rIns="45719" anchor="ctr"/>
            <a:lstStyle/>
            <a:p>
              <a:endParaRPr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332" name="îšľîḓé"/>
            <p:cNvSpPr txBox="1"/>
            <p:nvPr/>
          </p:nvSpPr>
          <p:spPr>
            <a:xfrm>
              <a:off x="8263614" y="2882528"/>
              <a:ext cx="1585812" cy="337812"/>
            </a:xfrm>
            <a:prstGeom prst="rect">
              <a:avLst/>
            </a:prstGeom>
            <a:ln w="12700">
              <a:miter lim="400000"/>
            </a:ln>
          </p:spPr>
          <p:txBody>
            <a:bodyPr lIns="45719" rIns="45719" anchor="b">
              <a:normAutofit/>
            </a:bodyPr>
            <a:lstStyle>
              <a:lvl1pPr defTabSz="868680">
                <a:defRPr sz="1615" b="1"/>
              </a:lvl1pPr>
            </a:lstStyle>
            <a:p>
              <a:r>
                <a:rPr lang="en-US" altLang="zh-CN" sz="1300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Europe</a:t>
              </a:r>
            </a:p>
          </p:txBody>
        </p:sp>
        <p:sp>
          <p:nvSpPr>
            <p:cNvPr id="333" name="9AM  - 6PM…"/>
            <p:cNvSpPr txBox="1"/>
            <p:nvPr/>
          </p:nvSpPr>
          <p:spPr>
            <a:xfrm>
              <a:off x="8308419" y="3308277"/>
              <a:ext cx="2391384" cy="246565"/>
            </a:xfrm>
            <a:prstGeom prst="rect">
              <a:avLst/>
            </a:prstGeom>
            <a:ln w="12700">
              <a:miter lim="400000"/>
            </a:ln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ct val="50000"/>
                </a:lnSpc>
                <a:spcBef>
                  <a:spcPts val="600"/>
                </a:spcBef>
                <a:defRPr sz="1000">
                  <a:solidFill>
                    <a:srgbClr val="D0040D"/>
                  </a:solidFill>
                  <a:latin typeface="Arial" panose="020B0604020202020204"/>
                  <a:ea typeface="Arial" panose="020B0604020202020204"/>
                  <a:cs typeface="Arial" panose="020B0604020202020204"/>
                  <a:sym typeface="Arial" panose="020B0604020202020204"/>
                </a:defRPr>
              </a:pPr>
              <a:r>
                <a:rPr lang="en-US" altLang="zh-CN" sz="900" spc="3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English Speaking Service</a:t>
              </a:r>
            </a:p>
            <a:p>
              <a:pPr>
                <a:lnSpc>
                  <a:spcPct val="50000"/>
                </a:lnSpc>
                <a:spcBef>
                  <a:spcPts val="600"/>
                </a:spcBef>
                <a:defRPr sz="1000">
                  <a:solidFill>
                    <a:srgbClr val="D0040D"/>
                  </a:solidFill>
                  <a:latin typeface="Arial" panose="020B0604020202020204"/>
                  <a:ea typeface="Arial" panose="020B0604020202020204"/>
                  <a:cs typeface="Arial" panose="020B0604020202020204"/>
                  <a:sym typeface="Arial" panose="020B0604020202020204"/>
                </a:defRPr>
              </a:pPr>
              <a:endParaRPr lang="en-US" sz="900" spc="30" dirty="0">
                <a:solidFill>
                  <a:schemeClr val="tx1">
                    <a:lumMod val="75000"/>
                    <a:lumOff val="2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334" name="Line"/>
            <p:cNvSpPr/>
            <p:nvPr/>
          </p:nvSpPr>
          <p:spPr>
            <a:xfrm>
              <a:off x="8309489" y="3192034"/>
              <a:ext cx="1471941" cy="12208"/>
            </a:xfrm>
            <a:prstGeom prst="line">
              <a:avLst/>
            </a:prstGeom>
            <a:ln w="12700">
              <a:solidFill>
                <a:srgbClr val="D0070D"/>
              </a:solidFill>
              <a:miter/>
            </a:ln>
          </p:spPr>
          <p:txBody>
            <a:bodyPr lIns="45719" rIns="45719"/>
            <a:lstStyle/>
            <a:p>
              <a:endParaRPr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335" name="9AM  - 6PM…"/>
            <p:cNvSpPr txBox="1"/>
            <p:nvPr/>
          </p:nvSpPr>
          <p:spPr>
            <a:xfrm>
              <a:off x="8308419" y="3536221"/>
              <a:ext cx="2993659" cy="704467"/>
            </a:xfrm>
            <a:prstGeom prst="rect">
              <a:avLst/>
            </a:prstGeom>
            <a:ln w="12700">
              <a:miter lim="400000"/>
            </a:ln>
          </p:spPr>
          <p:txBody>
            <a:bodyPr wrap="square" lIns="0" tIns="0" rIns="0" bIns="0">
              <a:spAutoFit/>
            </a:bodyPr>
            <a:lstStyle/>
            <a:p>
              <a:pPr>
                <a:lnSpc>
                  <a:spcPts val="900"/>
                </a:lnSpc>
                <a:spcBef>
                  <a:spcPts val="600"/>
                </a:spcBef>
                <a:defRPr sz="1000">
                  <a:solidFill>
                    <a:srgbClr val="D0040D"/>
                  </a:solidFill>
                  <a:latin typeface="Arial" panose="020B0604020202020204"/>
                  <a:ea typeface="Arial" panose="020B0604020202020204"/>
                  <a:cs typeface="Arial" panose="020B0604020202020204"/>
                  <a:sym typeface="Arial" panose="020B0604020202020204"/>
                </a:defRPr>
              </a:pPr>
              <a:r>
                <a:rPr lang="en-US" altLang="zh-CN" sz="900" b="1" spc="3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(+852)800 969 178</a:t>
              </a:r>
            </a:p>
            <a:p>
              <a:pPr>
                <a:lnSpc>
                  <a:spcPct val="50000"/>
                </a:lnSpc>
                <a:spcBef>
                  <a:spcPts val="600"/>
                </a:spcBef>
                <a:defRPr sz="1000">
                  <a:solidFill>
                    <a:srgbClr val="D0040D"/>
                  </a:solidFill>
                  <a:latin typeface="Arial" panose="020B0604020202020204"/>
                  <a:ea typeface="Arial" panose="020B0604020202020204"/>
                  <a:cs typeface="Arial" panose="020B0604020202020204"/>
                  <a:sym typeface="Arial" panose="020B0604020202020204"/>
                </a:defRPr>
              </a:pPr>
              <a:endParaRPr lang="en-US" sz="900" spc="30" dirty="0">
                <a:solidFill>
                  <a:schemeClr val="tx1">
                    <a:lumMod val="75000"/>
                    <a:lumOff val="2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  <a:p>
              <a:pPr>
                <a:spcBef>
                  <a:spcPts val="600"/>
                </a:spcBef>
                <a:defRPr sz="1000">
                  <a:solidFill>
                    <a:srgbClr val="D0040D"/>
                  </a:solidFill>
                  <a:latin typeface="Arial" panose="020B0604020202020204"/>
                  <a:ea typeface="Arial" panose="020B0604020202020204"/>
                  <a:cs typeface="Arial" panose="020B0604020202020204"/>
                  <a:sym typeface="Arial" panose="020B0604020202020204"/>
                </a:defRPr>
              </a:pPr>
              <a:r>
                <a:rPr lang="en-US" sz="900" i="1" spc="3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* </a:t>
              </a:r>
              <a:r>
                <a:rPr lang="en-US" altLang="zh-CN" sz="900" i="1" spc="3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The hotline is available for all European and </a:t>
              </a:r>
              <a:r>
                <a:rPr lang="en-US" altLang="zh-CN" sz="900" b="1" i="1" spc="3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other countries </a:t>
              </a:r>
              <a:r>
                <a:rPr lang="en-US" altLang="zh-CN" sz="900" i="1" spc="3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.</a:t>
              </a:r>
              <a:endParaRPr lang="en-US" sz="900" i="1" spc="30" dirty="0">
                <a:solidFill>
                  <a:schemeClr val="tx1">
                    <a:lumMod val="75000"/>
                    <a:lumOff val="2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</p:grpSp>
      <p:sp>
        <p:nvSpPr>
          <p:cNvPr id="336" name="Circle"/>
          <p:cNvSpPr/>
          <p:nvPr/>
        </p:nvSpPr>
        <p:spPr>
          <a:xfrm>
            <a:off x="5420175" y="3190111"/>
            <a:ext cx="91148" cy="86003"/>
          </a:xfrm>
          <a:prstGeom prst="ellipse">
            <a:avLst/>
          </a:prstGeom>
          <a:solidFill>
            <a:srgbClr val="C00000"/>
          </a:solidFill>
          <a:ln w="38100">
            <a:solidFill>
              <a:srgbClr val="FF9596"/>
            </a:solidFill>
            <a:miter/>
          </a:ln>
        </p:spPr>
        <p:txBody>
          <a:bodyPr lIns="45719" rIns="45719" anchor="ctr"/>
          <a:lstStyle/>
          <a:p>
            <a:endParaRPr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337" name="Line"/>
          <p:cNvSpPr/>
          <p:nvPr/>
        </p:nvSpPr>
        <p:spPr>
          <a:xfrm>
            <a:off x="4905939" y="2883074"/>
            <a:ext cx="496541" cy="316120"/>
          </a:xfrm>
          <a:prstGeom prst="line">
            <a:avLst/>
          </a:prstGeom>
          <a:ln w="12700">
            <a:solidFill>
              <a:srgbClr val="D0070D"/>
            </a:solidFill>
            <a:miter/>
          </a:ln>
        </p:spPr>
        <p:txBody>
          <a:bodyPr lIns="45719" rIns="45719"/>
          <a:lstStyle/>
          <a:p>
            <a:endParaRPr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66" name="内容占位符 2"/>
          <p:cNvSpPr txBox="1"/>
          <p:nvPr/>
        </p:nvSpPr>
        <p:spPr>
          <a:xfrm>
            <a:off x="576000" y="1586168"/>
            <a:ext cx="10728066" cy="573088"/>
          </a:xfrm>
          <a:prstGeom prst="rect">
            <a:avLst/>
          </a:prstGeom>
        </p:spPr>
        <p:txBody>
          <a:bodyPr/>
          <a:lstStyle>
            <a:lvl1pPr marL="0" indent="0" algn="l" defTabSz="863600" rtl="0" eaLnBrk="1" latinLnBrk="0" hangingPunct="1">
              <a:lnSpc>
                <a:spcPct val="120000"/>
              </a:lnSpc>
              <a:spcBef>
                <a:spcPts val="945"/>
              </a:spcBef>
              <a:buFont typeface="Arial" panose="020B0604020202020204" pitchFamily="34" charset="0"/>
              <a:buNone/>
              <a:defRPr sz="1200" kern="1200">
                <a:solidFill>
                  <a:srgbClr val="50555A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431800" indent="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None/>
              <a:defRPr sz="2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1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19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437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8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86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04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22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600"/>
              </a:lnSpc>
            </a:pPr>
            <a:r>
              <a:rPr lang="en-US" altLang="zh-CN" sz="14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* Hotline service is available in </a:t>
            </a:r>
            <a:r>
              <a:rPr lang="en-US" altLang="zh-CN" sz="14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local business hours (Warranty: R-Care Service)</a:t>
            </a:r>
          </a:p>
          <a:p>
            <a:pPr>
              <a:lnSpc>
                <a:spcPts val="1600"/>
              </a:lnSpc>
            </a:pPr>
            <a:r>
              <a:rPr lang="en-US" altLang="zh-CN" sz="14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* Spanish service operates within the business hours of </a:t>
            </a:r>
            <a:r>
              <a:rPr lang="en-US" altLang="zh-CN" sz="14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GMT-6</a:t>
            </a:r>
            <a:r>
              <a:rPr lang="en-US" altLang="zh-CN" sz="14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76734" y="402155"/>
            <a:ext cx="10727332" cy="605684"/>
          </a:xfrm>
        </p:spPr>
        <p:txBody>
          <a:bodyPr/>
          <a:lstStyle/>
          <a:p>
            <a:r>
              <a:rPr lang="en-US" altLang="zh-CN" dirty="0">
                <a:latin typeface="Noto Sans Black" panose="020B0A02040504020204"/>
              </a:rPr>
              <a:t>Technical Support Specifications</a:t>
            </a:r>
          </a:p>
        </p:txBody>
      </p:sp>
      <p:sp>
        <p:nvSpPr>
          <p:cNvPr id="110" name="内容占位符 2"/>
          <p:cNvSpPr txBox="1"/>
          <p:nvPr/>
        </p:nvSpPr>
        <p:spPr>
          <a:xfrm>
            <a:off x="576000" y="1080215"/>
            <a:ext cx="10728066" cy="429947"/>
          </a:xfrm>
          <a:prstGeom prst="rect">
            <a:avLst/>
          </a:prstGeom>
        </p:spPr>
        <p:txBody>
          <a:bodyPr/>
          <a:lstStyle>
            <a:lvl1pPr marL="0" indent="0" algn="l" defTabSz="863600" rtl="0" eaLnBrk="1" latinLnBrk="0" hangingPunct="1">
              <a:lnSpc>
                <a:spcPct val="120000"/>
              </a:lnSpc>
              <a:spcBef>
                <a:spcPts val="945"/>
              </a:spcBef>
              <a:buFont typeface="Arial" panose="020B0604020202020204" pitchFamily="34" charset="0"/>
              <a:buNone/>
              <a:defRPr sz="1200" kern="1200">
                <a:solidFill>
                  <a:srgbClr val="50555A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431800" indent="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None/>
              <a:defRPr sz="2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1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19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437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8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86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04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22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The problems of customers will be classified into </a:t>
            </a:r>
            <a:r>
              <a:rPr lang="en-US" altLang="zh-CN" sz="18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4 level based on the severity</a:t>
            </a:r>
            <a:r>
              <a:rPr lang="en-US" altLang="zh-CN" sz="18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. The definition and follow-up specs of every level are shown as below: </a:t>
            </a:r>
          </a:p>
        </p:txBody>
      </p:sp>
      <p:graphicFrame>
        <p:nvGraphicFramePr>
          <p:cNvPr id="303" name="表格 3"/>
          <p:cNvGraphicFramePr/>
          <p:nvPr>
            <p:extLst>
              <p:ext uri="{D42A27DB-BD31-4B8C-83A1-F6EECF244321}">
                <p14:modId xmlns:p14="http://schemas.microsoft.com/office/powerpoint/2010/main" val="3620090617"/>
              </p:ext>
            </p:extLst>
          </p:nvPr>
        </p:nvGraphicFramePr>
        <p:xfrm>
          <a:off x="385042" y="1901965"/>
          <a:ext cx="10820882" cy="3405349"/>
        </p:xfrm>
        <a:graphic>
          <a:graphicData uri="http://schemas.openxmlformats.org/drawingml/2006/table">
            <a:tbl>
              <a:tblPr firstRow="1" firstCol="1"/>
              <a:tblGrid>
                <a:gridCol w="146091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80192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60776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95028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435526">
                <a:tc>
                  <a:txBody>
                    <a:bodyPr/>
                    <a:lstStyle/>
                    <a:p>
                      <a:pPr algn="ctr" defTabSz="863600">
                        <a:defRPr sz="1500"/>
                      </a:pPr>
                      <a:r>
                        <a:rPr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Severity</a:t>
                      </a:r>
                      <a:r>
                        <a:rPr lang="en-US" sz="1400" b="1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 </a:t>
                      </a:r>
                      <a:r>
                        <a:rPr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Level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863600">
                        <a:defRPr sz="1500"/>
                      </a:pPr>
                      <a:r>
                        <a:rPr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Severity Level</a:t>
                      </a:r>
                      <a:r>
                        <a:rPr lang="en-US" sz="1400" b="1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 </a:t>
                      </a:r>
                      <a:r>
                        <a:rPr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Description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863600">
                        <a:defRPr sz="1500"/>
                      </a:pPr>
                      <a:r>
                        <a:rPr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SLA</a:t>
                      </a:r>
                      <a:r>
                        <a:rPr lang="en-US" sz="1400" b="1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 </a:t>
                      </a:r>
                      <a:r>
                        <a:rPr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Period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863600">
                        <a:defRPr sz="1500"/>
                      </a:pPr>
                      <a:r>
                        <a:rPr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Issue Tracking </a:t>
                      </a:r>
                    </a:p>
                    <a:p>
                      <a:pPr algn="ctr" defTabSz="863600">
                        <a:defRPr sz="1500"/>
                      </a:pPr>
                      <a:r>
                        <a:rPr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Frequency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35526">
                <a:tc>
                  <a:txBody>
                    <a:bodyPr/>
                    <a:lstStyle/>
                    <a:p>
                      <a:pPr algn="ctr" defTabSz="863600">
                        <a:defRPr sz="1800" b="0"/>
                      </a:pPr>
                      <a:r>
                        <a:rPr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P4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07950" algn="l" defTabSz="863600">
                        <a:defRPr sz="1800"/>
                      </a:pPr>
                      <a:r>
                        <a:rPr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Customer consults functions, configuration methods, etc.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863600">
                        <a:defRPr sz="1800"/>
                      </a:pPr>
                      <a:r>
                        <a:rPr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18 CD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863600">
                        <a:defRPr sz="1800"/>
                      </a:pPr>
                      <a:r>
                        <a:rPr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≥ 1 /3BD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25982">
                <a:tc>
                  <a:txBody>
                    <a:bodyPr/>
                    <a:lstStyle/>
                    <a:p>
                      <a:pPr algn="ctr" defTabSz="863600">
                        <a:defRPr sz="1800" b="0"/>
                      </a:pPr>
                      <a:r>
                        <a:rPr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P3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07950" algn="l" defTabSz="863600">
                        <a:defRPr sz="1800"/>
                      </a:pPr>
                      <a:r>
                        <a:rPr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Customer</a:t>
                      </a:r>
                      <a:r>
                        <a:rPr lang="en-US"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s</a:t>
                      </a:r>
                      <a:r>
                        <a:rPr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 </a:t>
                      </a:r>
                      <a:r>
                        <a:rPr lang="en-US"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fail</a:t>
                      </a:r>
                      <a:r>
                        <a:rPr lang="en-US" sz="14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 to configure their </a:t>
                      </a:r>
                      <a:r>
                        <a:rPr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devices or other </a:t>
                      </a:r>
                      <a:r>
                        <a:rPr lang="en-US"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problems</a:t>
                      </a:r>
                      <a:r>
                        <a:rPr lang="en-US" sz="14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 </a:t>
                      </a:r>
                      <a:r>
                        <a:rPr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except for P1 and P2 faults.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863600">
                        <a:defRPr sz="1800"/>
                      </a:pPr>
                      <a:r>
                        <a:rPr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18 CD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863600">
                        <a:defRPr sz="1800"/>
                      </a:pPr>
                      <a:r>
                        <a:rPr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≥ 1 /3BD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012936">
                <a:tc>
                  <a:txBody>
                    <a:bodyPr/>
                    <a:lstStyle/>
                    <a:p>
                      <a:pPr algn="ctr" defTabSz="863600">
                        <a:defRPr sz="1800" b="0"/>
                      </a:pPr>
                      <a:r>
                        <a:rPr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P2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07950" algn="l" defTabSz="863600">
                        <a:defRPr sz="1800"/>
                      </a:pPr>
                      <a:r>
                        <a:rPr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1.</a:t>
                      </a:r>
                      <a:r>
                        <a:rPr lang="en-US"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The</a:t>
                      </a:r>
                      <a:r>
                        <a:rPr lang="en-US" sz="14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 customer’s network is disconnected, or the </a:t>
                      </a:r>
                      <a:r>
                        <a:rPr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core business is affected</a:t>
                      </a:r>
                      <a:r>
                        <a:rPr lang="en-US" sz="14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 which can’t be recovered in time (30 mins).</a:t>
                      </a:r>
                      <a:endParaRPr lang="en-US" sz="14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  <a:p>
                      <a:pPr marL="107950" algn="l" defTabSz="863600">
                        <a:defRPr sz="1800"/>
                      </a:pPr>
                      <a:r>
                        <a:rPr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2.The actual handling time of P3 fault exceeds 18 days</a:t>
                      </a:r>
                      <a:r>
                        <a:rPr lang="en-US" sz="14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 without providing any solutions</a:t>
                      </a:r>
                      <a:endParaRPr sz="14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863600">
                        <a:defRPr sz="1800"/>
                      </a:pPr>
                      <a:r>
                        <a:rPr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12 CD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863600">
                        <a:defRPr sz="1800"/>
                      </a:pPr>
                      <a:r>
                        <a:rPr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≥ 1 /1BD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995379">
                <a:tc>
                  <a:txBody>
                    <a:bodyPr/>
                    <a:lstStyle/>
                    <a:p>
                      <a:pPr algn="ctr" defTabSz="863600">
                        <a:defRPr sz="1800" b="0"/>
                      </a:pPr>
                      <a:r>
                        <a:rPr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P1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07950" algn="l" defTabSz="863600">
                        <a:defRPr sz="1800"/>
                      </a:pPr>
                      <a:r>
                        <a:rPr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1.</a:t>
                      </a:r>
                      <a:r>
                        <a:rPr lang="en-US"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The k</a:t>
                      </a:r>
                      <a:r>
                        <a:rPr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ey customer</a:t>
                      </a:r>
                      <a:r>
                        <a:rPr lang="en-US"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’s network</a:t>
                      </a:r>
                      <a:r>
                        <a:rPr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 is disconnected</a:t>
                      </a:r>
                      <a:r>
                        <a:rPr lang="en-US"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,</a:t>
                      </a:r>
                      <a:r>
                        <a:rPr lang="en-US" sz="14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 </a:t>
                      </a:r>
                      <a:r>
                        <a:rPr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or core business is affected</a:t>
                      </a:r>
                      <a:r>
                        <a:rPr lang="en-US"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 which</a:t>
                      </a:r>
                      <a:r>
                        <a:rPr lang="en-US" sz="14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 </a:t>
                      </a:r>
                      <a:r>
                        <a:rPr lang="en-US"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can’t be recovered</a:t>
                      </a:r>
                      <a:r>
                        <a:rPr lang="en-US" sz="14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 in time</a:t>
                      </a:r>
                      <a:r>
                        <a:rPr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 (within 30 mins)</a:t>
                      </a:r>
                      <a:endParaRPr lang="en-US" sz="14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  <a:p>
                      <a:pPr marL="107950" algn="l" defTabSz="863600">
                        <a:defRPr sz="1800"/>
                      </a:pPr>
                      <a:r>
                        <a:rPr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2. The actual handling time of P2 fault exceeds 12 days</a:t>
                      </a:r>
                      <a:r>
                        <a:rPr lang="en-US"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 without</a:t>
                      </a:r>
                      <a:r>
                        <a:rPr lang="en-US" sz="1400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 providing any solutions</a:t>
                      </a:r>
                      <a:endParaRPr sz="14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863600">
                        <a:defRPr sz="1800"/>
                      </a:pPr>
                      <a:r>
                        <a:rPr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7 CD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defTabSz="863600">
                        <a:defRPr sz="1800"/>
                      </a:pPr>
                      <a:r>
                        <a:rPr sz="14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≥ 1 /1BD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306" name="文本框 305"/>
          <p:cNvSpPr txBox="1"/>
          <p:nvPr/>
        </p:nvSpPr>
        <p:spPr>
          <a:xfrm>
            <a:off x="286842" y="5256311"/>
            <a:ext cx="1101722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buSzPct val="25000"/>
            </a:pPr>
            <a:r>
              <a:rPr lang="en-US" altLang="zh-CN" sz="1400" b="1" i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emarks:  </a:t>
            </a:r>
            <a:r>
              <a:rPr lang="en-US" altLang="zh-CN" sz="14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The Severity Level definition may vary based on the customer</a:t>
            </a:r>
            <a:r>
              <a:rPr lang="en-US" altLang="zh-CN" sz="1400" i="1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’</a:t>
            </a:r>
            <a:r>
              <a:rPr lang="en-US" altLang="zh-CN" sz="14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 network complexity and force majeure factors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76734" y="402155"/>
            <a:ext cx="10727332" cy="605684"/>
          </a:xfrm>
        </p:spPr>
        <p:txBody>
          <a:bodyPr/>
          <a:lstStyle/>
          <a:p>
            <a:r>
              <a:rPr lang="en-US" altLang="zh-CN" dirty="0" err="1">
                <a:solidFill>
                  <a:schemeClr val="tx1"/>
                </a:solidFill>
                <a:latin typeface="Noto Sans Black" panose="020B0A02040504020204"/>
              </a:rPr>
              <a:t>Ruijie</a:t>
            </a:r>
            <a:r>
              <a:rPr lang="en-US" altLang="zh-CN" dirty="0">
                <a:solidFill>
                  <a:schemeClr val="tx1"/>
                </a:solidFill>
                <a:latin typeface="Noto Sans Black" panose="020B0A02040504020204"/>
              </a:rPr>
              <a:t> Service Platform: </a:t>
            </a:r>
            <a:r>
              <a:rPr lang="en-US" altLang="zh-CN" dirty="0">
                <a:latin typeface="Noto Sans Black" panose="020B0A02040504020204"/>
              </a:rPr>
              <a:t>Community</a:t>
            </a:r>
          </a:p>
        </p:txBody>
      </p:sp>
      <p:sp>
        <p:nvSpPr>
          <p:cNvPr id="110" name="内容占位符 2"/>
          <p:cNvSpPr txBox="1"/>
          <p:nvPr/>
        </p:nvSpPr>
        <p:spPr>
          <a:xfrm>
            <a:off x="576000" y="1080215"/>
            <a:ext cx="10728066" cy="429947"/>
          </a:xfrm>
          <a:prstGeom prst="rect">
            <a:avLst/>
          </a:prstGeom>
        </p:spPr>
        <p:txBody>
          <a:bodyPr/>
          <a:lstStyle>
            <a:lvl1pPr marL="0" indent="0" algn="l" defTabSz="863600" rtl="0" eaLnBrk="1" latinLnBrk="0" hangingPunct="1">
              <a:lnSpc>
                <a:spcPct val="120000"/>
              </a:lnSpc>
              <a:spcBef>
                <a:spcPts val="945"/>
              </a:spcBef>
              <a:buFont typeface="Arial" panose="020B0604020202020204" pitchFamily="34" charset="0"/>
              <a:buNone/>
              <a:defRPr sz="1200" kern="1200">
                <a:solidFill>
                  <a:srgbClr val="50555A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431800" indent="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None/>
              <a:defRPr sz="2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1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19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437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8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86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04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22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ommunity is an </a:t>
            </a:r>
            <a:r>
              <a:rPr lang="en-US" altLang="zh-CN" sz="18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open forum</a:t>
            </a:r>
            <a:r>
              <a:rPr lang="en-US" altLang="zh-CN" sz="18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where you can share your opinions, discuss the technical issues and get help from </a:t>
            </a:r>
            <a:r>
              <a:rPr lang="en-US" altLang="zh-CN" sz="1800" b="1" dirty="0" err="1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uijie</a:t>
            </a:r>
            <a:r>
              <a:rPr lang="en-US" altLang="zh-CN" sz="18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engineer and other experts</a:t>
            </a:r>
            <a:r>
              <a:rPr lang="en-US" altLang="zh-CN" sz="18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.</a:t>
            </a:r>
          </a:p>
        </p:txBody>
      </p:sp>
      <p:grpSp>
        <p:nvGrpSpPr>
          <p:cNvPr id="6" name="组合 5"/>
          <p:cNvGrpSpPr/>
          <p:nvPr/>
        </p:nvGrpSpPr>
        <p:grpSpPr>
          <a:xfrm>
            <a:off x="598003" y="1943943"/>
            <a:ext cx="9985984" cy="3915680"/>
            <a:chOff x="650423" y="1950260"/>
            <a:chExt cx="10980103" cy="4305492"/>
          </a:xfrm>
        </p:grpSpPr>
        <p:sp>
          <p:nvSpPr>
            <p:cNvPr id="8" name="文本框 7">
              <a:hlinkClick r:id="rId2"/>
            </p:cNvPr>
            <p:cNvSpPr txBox="1"/>
            <p:nvPr/>
          </p:nvSpPr>
          <p:spPr>
            <a:xfrm>
              <a:off x="860498" y="5951177"/>
              <a:ext cx="10559903" cy="3045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buSzPct val="25000"/>
              </a:pPr>
              <a:r>
                <a:rPr lang="en-US" altLang="zh-CN" sz="1200" u="sng" dirty="0">
                  <a:solidFill>
                    <a:srgbClr val="FF0000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hlinkClick r:id="rId3"/>
                </a:rPr>
                <a:t>https://community.ruijienetworks.com/</a:t>
              </a:r>
              <a:endParaRPr lang="en-US" altLang="zh-CN" sz="1200" u="sng" dirty="0">
                <a:solidFill>
                  <a:srgbClr val="FF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grpSp>
          <p:nvGrpSpPr>
            <p:cNvPr id="9" name="组合 8"/>
            <p:cNvGrpSpPr/>
            <p:nvPr/>
          </p:nvGrpSpPr>
          <p:grpSpPr>
            <a:xfrm>
              <a:off x="650423" y="1950260"/>
              <a:ext cx="4086649" cy="2833314"/>
              <a:chOff x="5652258" y="4890307"/>
              <a:chExt cx="4086649" cy="2833314"/>
            </a:xfrm>
          </p:grpSpPr>
          <p:pic>
            <p:nvPicPr>
              <p:cNvPr id="27" name="图片 26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191034" y="5027899"/>
                <a:ext cx="2935912" cy="1641224"/>
              </a:xfrm>
              <a:prstGeom prst="rect">
                <a:avLst/>
              </a:prstGeom>
            </p:spPr>
          </p:pic>
          <p:grpSp>
            <p:nvGrpSpPr>
              <p:cNvPr id="28" name="îšļiḑe"/>
              <p:cNvGrpSpPr/>
              <p:nvPr/>
            </p:nvGrpSpPr>
            <p:grpSpPr>
              <a:xfrm>
                <a:off x="5793248" y="4890307"/>
                <a:ext cx="3640205" cy="2013335"/>
                <a:chOff x="503602" y="2132856"/>
                <a:chExt cx="5859098" cy="3239723"/>
              </a:xfrm>
            </p:grpSpPr>
            <p:grpSp>
              <p:nvGrpSpPr>
                <p:cNvPr id="35" name="išḷiďe"/>
                <p:cNvGrpSpPr/>
                <p:nvPr/>
              </p:nvGrpSpPr>
              <p:grpSpPr>
                <a:xfrm>
                  <a:off x="503602" y="5249660"/>
                  <a:ext cx="5859098" cy="122919"/>
                  <a:chOff x="-1348120" y="5777968"/>
                  <a:chExt cx="9361040" cy="187524"/>
                </a:xfrm>
              </p:grpSpPr>
              <p:sp>
                <p:nvSpPr>
                  <p:cNvPr id="42" name="ïṩḷiḑé"/>
                  <p:cNvSpPr/>
                  <p:nvPr/>
                </p:nvSpPr>
                <p:spPr>
                  <a:xfrm>
                    <a:off x="-1348120" y="5777968"/>
                    <a:ext cx="9361040" cy="151090"/>
                  </a:xfrm>
                  <a:prstGeom prst="rect">
                    <a:avLst/>
                  </a:prstGeom>
                  <a:solidFill>
                    <a:srgbClr val="DDDDDD"/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lIns="91440" tIns="45720" rIns="91440" bIns="45720" rtlCol="0" anchor="ctr">
                    <a:normAutofit fontScale="25000" lnSpcReduction="20000"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defRPr/>
                    </a:pPr>
                    <a:endParaRPr kumimoji="0" lang="en-US" sz="109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to Sans" panose="020B0502040504020204" pitchFamily="34" charset="0"/>
                      <a:ea typeface="Noto Sans" panose="020B0502040504020204" pitchFamily="34" charset="0"/>
                      <a:cs typeface="Noto Sans" panose="020B0502040504020204" pitchFamily="34" charset="0"/>
                    </a:endParaRPr>
                  </a:p>
                </p:txBody>
              </p:sp>
              <p:sp>
                <p:nvSpPr>
                  <p:cNvPr id="43" name="ïŝ1îdê"/>
                  <p:cNvSpPr/>
                  <p:nvPr/>
                </p:nvSpPr>
                <p:spPr>
                  <a:xfrm flipV="1">
                    <a:off x="-1348120" y="5928916"/>
                    <a:ext cx="9361040" cy="36576"/>
                  </a:xfrm>
                  <a:prstGeom prst="trapezoid">
                    <a:avLst>
                      <a:gd name="adj" fmla="val 814192"/>
                    </a:avLst>
                  </a:prstGeom>
                  <a:solidFill>
                    <a:srgbClr val="808080"/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lIns="91440" tIns="45720" rIns="91440" bIns="45720" rtlCol="0" anchor="ctr">
                    <a:normAutofit fontScale="25000" lnSpcReduction="20000"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defRPr/>
                    </a:pPr>
                    <a:endParaRPr kumimoji="0" lang="en-US" sz="109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to Sans" panose="020B0502040504020204" pitchFamily="34" charset="0"/>
                      <a:ea typeface="Noto Sans" panose="020B0502040504020204" pitchFamily="34" charset="0"/>
                      <a:cs typeface="Noto Sans" panose="020B0502040504020204" pitchFamily="34" charset="0"/>
                    </a:endParaRPr>
                  </a:p>
                </p:txBody>
              </p:sp>
            </p:grpSp>
            <p:grpSp>
              <p:nvGrpSpPr>
                <p:cNvPr id="36" name="iSḻíḍè"/>
                <p:cNvGrpSpPr/>
                <p:nvPr/>
              </p:nvGrpSpPr>
              <p:grpSpPr>
                <a:xfrm>
                  <a:off x="1002671" y="2132856"/>
                  <a:ext cx="4860960" cy="3080807"/>
                  <a:chOff x="-375492" y="1139528"/>
                  <a:chExt cx="7415785" cy="4700016"/>
                </a:xfrm>
              </p:grpSpPr>
              <p:grpSp>
                <p:nvGrpSpPr>
                  <p:cNvPr id="37" name="îsḷîḍê"/>
                  <p:cNvGrpSpPr/>
                  <p:nvPr/>
                </p:nvGrpSpPr>
                <p:grpSpPr>
                  <a:xfrm>
                    <a:off x="-375492" y="1139528"/>
                    <a:ext cx="7415785" cy="4700016"/>
                    <a:chOff x="-375492" y="1139528"/>
                    <a:chExt cx="7415785" cy="4700016"/>
                  </a:xfrm>
                </p:grpSpPr>
                <p:sp>
                  <p:nvSpPr>
                    <p:cNvPr id="39" name="iṣľíḓe"/>
                    <p:cNvSpPr/>
                    <p:nvPr/>
                  </p:nvSpPr>
                  <p:spPr>
                    <a:xfrm>
                      <a:off x="-375492" y="1139528"/>
                      <a:ext cx="7415784" cy="4700016"/>
                    </a:xfrm>
                    <a:custGeom>
                      <a:avLst/>
                      <a:gdLst>
                        <a:gd name="connsiteX0" fmla="*/ 224028 w 7415784"/>
                        <a:gd name="connsiteY0" fmla="*/ 269748 h 4700016"/>
                        <a:gd name="connsiteX1" fmla="*/ 224028 w 7415784"/>
                        <a:gd name="connsiteY1" fmla="*/ 4430268 h 4700016"/>
                        <a:gd name="connsiteX2" fmla="*/ 7191756 w 7415784"/>
                        <a:gd name="connsiteY2" fmla="*/ 4430268 h 4700016"/>
                        <a:gd name="connsiteX3" fmla="*/ 7191756 w 7415784"/>
                        <a:gd name="connsiteY3" fmla="*/ 269748 h 4700016"/>
                        <a:gd name="connsiteX4" fmla="*/ 266867 w 7415784"/>
                        <a:gd name="connsiteY4" fmla="*/ 0 h 4700016"/>
                        <a:gd name="connsiteX5" fmla="*/ 7148917 w 7415784"/>
                        <a:gd name="connsiteY5" fmla="*/ 0 h 4700016"/>
                        <a:gd name="connsiteX6" fmla="*/ 7415784 w 7415784"/>
                        <a:gd name="connsiteY6" fmla="*/ 266867 h 4700016"/>
                        <a:gd name="connsiteX7" fmla="*/ 7415784 w 7415784"/>
                        <a:gd name="connsiteY7" fmla="*/ 4433149 h 4700016"/>
                        <a:gd name="connsiteX8" fmla="*/ 7148917 w 7415784"/>
                        <a:gd name="connsiteY8" fmla="*/ 4700016 h 4700016"/>
                        <a:gd name="connsiteX9" fmla="*/ 266867 w 7415784"/>
                        <a:gd name="connsiteY9" fmla="*/ 4700016 h 4700016"/>
                        <a:gd name="connsiteX10" fmla="*/ 0 w 7415784"/>
                        <a:gd name="connsiteY10" fmla="*/ 4433149 h 4700016"/>
                        <a:gd name="connsiteX11" fmla="*/ 0 w 7415784"/>
                        <a:gd name="connsiteY11" fmla="*/ 266867 h 4700016"/>
                        <a:gd name="connsiteX12" fmla="*/ 266867 w 7415784"/>
                        <a:gd name="connsiteY12" fmla="*/ 0 h 470001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</a:cxnLst>
                      <a:rect l="l" t="t" r="r" b="b"/>
                      <a:pathLst>
                        <a:path w="7415784" h="4700016">
                          <a:moveTo>
                            <a:pt x="224028" y="269748"/>
                          </a:moveTo>
                          <a:lnTo>
                            <a:pt x="224028" y="4430268"/>
                          </a:lnTo>
                          <a:lnTo>
                            <a:pt x="7191756" y="4430268"/>
                          </a:lnTo>
                          <a:lnTo>
                            <a:pt x="7191756" y="269748"/>
                          </a:lnTo>
                          <a:close/>
                          <a:moveTo>
                            <a:pt x="266867" y="0"/>
                          </a:moveTo>
                          <a:lnTo>
                            <a:pt x="7148917" y="0"/>
                          </a:lnTo>
                          <a:cubicBezTo>
                            <a:pt x="7296304" y="0"/>
                            <a:pt x="7415784" y="119480"/>
                            <a:pt x="7415784" y="266867"/>
                          </a:cubicBezTo>
                          <a:lnTo>
                            <a:pt x="7415784" y="4433149"/>
                          </a:lnTo>
                          <a:cubicBezTo>
                            <a:pt x="7415784" y="4580536"/>
                            <a:pt x="7296304" y="4700016"/>
                            <a:pt x="7148917" y="4700016"/>
                          </a:cubicBezTo>
                          <a:lnTo>
                            <a:pt x="266867" y="4700016"/>
                          </a:lnTo>
                          <a:cubicBezTo>
                            <a:pt x="119480" y="4700016"/>
                            <a:pt x="0" y="4580536"/>
                            <a:pt x="0" y="4433149"/>
                          </a:cubicBezTo>
                          <a:lnTo>
                            <a:pt x="0" y="266867"/>
                          </a:lnTo>
                          <a:cubicBezTo>
                            <a:pt x="0" y="119480"/>
                            <a:pt x="119480" y="0"/>
                            <a:pt x="266867" y="0"/>
                          </a:cubicBezTo>
                          <a:close/>
                        </a:path>
                      </a:pathLst>
                    </a:custGeom>
                    <a:solidFill>
                      <a:schemeClr val="bg1">
                        <a:lumMod val="75000"/>
                        <a:lumOff val="25000"/>
                      </a:schemeClr>
                    </a:solidFill>
                    <a:ln>
                      <a:noFill/>
                    </a:ln>
                    <a:effectLst/>
                  </p:spPr>
                  <p:style>
                    <a:lnRef idx="1">
                      <a:schemeClr val="accent1"/>
                    </a:lnRef>
                    <a:fillRef idx="3">
                      <a:schemeClr val="accent1"/>
                    </a:fillRef>
                    <a:effectRef idx="2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square" lIns="91440" tIns="45720" rIns="91440" bIns="45720" rtlCol="0" anchor="ctr">
                      <a:normAutofit/>
                    </a:bodyPr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sz="109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p:txBody>
                </p:sp>
                <p:sp>
                  <p:nvSpPr>
                    <p:cNvPr id="40" name="îŝḻiḓe"/>
                    <p:cNvSpPr/>
                    <p:nvPr/>
                  </p:nvSpPr>
                  <p:spPr>
                    <a:xfrm>
                      <a:off x="-358011" y="1160080"/>
                      <a:ext cx="7380820" cy="4658913"/>
                    </a:xfrm>
                    <a:custGeom>
                      <a:avLst/>
                      <a:gdLst>
                        <a:gd name="connsiteX0" fmla="*/ 252028 w 7380820"/>
                        <a:gd name="connsiteY0" fmla="*/ 295230 h 4658912"/>
                        <a:gd name="connsiteX1" fmla="*/ 252028 w 7380820"/>
                        <a:gd name="connsiteY1" fmla="*/ 4363682 h 4658912"/>
                        <a:gd name="connsiteX2" fmla="*/ 7128792 w 7380820"/>
                        <a:gd name="connsiteY2" fmla="*/ 4363682 h 4658912"/>
                        <a:gd name="connsiteX3" fmla="*/ 7128792 w 7380820"/>
                        <a:gd name="connsiteY3" fmla="*/ 295230 h 4658912"/>
                        <a:gd name="connsiteX4" fmla="*/ 264533 w 7380820"/>
                        <a:gd name="connsiteY4" fmla="*/ 0 h 4658912"/>
                        <a:gd name="connsiteX5" fmla="*/ 7116287 w 7380820"/>
                        <a:gd name="connsiteY5" fmla="*/ 0 h 4658912"/>
                        <a:gd name="connsiteX6" fmla="*/ 7380820 w 7380820"/>
                        <a:gd name="connsiteY6" fmla="*/ 264533 h 4658912"/>
                        <a:gd name="connsiteX7" fmla="*/ 7380820 w 7380820"/>
                        <a:gd name="connsiteY7" fmla="*/ 4394379 h 4658912"/>
                        <a:gd name="connsiteX8" fmla="*/ 7116287 w 7380820"/>
                        <a:gd name="connsiteY8" fmla="*/ 4658912 h 4658912"/>
                        <a:gd name="connsiteX9" fmla="*/ 264533 w 7380820"/>
                        <a:gd name="connsiteY9" fmla="*/ 4658912 h 4658912"/>
                        <a:gd name="connsiteX10" fmla="*/ 0 w 7380820"/>
                        <a:gd name="connsiteY10" fmla="*/ 4394379 h 4658912"/>
                        <a:gd name="connsiteX11" fmla="*/ 0 w 7380820"/>
                        <a:gd name="connsiteY11" fmla="*/ 264533 h 4658912"/>
                        <a:gd name="connsiteX12" fmla="*/ 264533 w 7380820"/>
                        <a:gd name="connsiteY12" fmla="*/ 0 h 465891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</a:cxnLst>
                      <a:rect l="l" t="t" r="r" b="b"/>
                      <a:pathLst>
                        <a:path w="7380820" h="4658912">
                          <a:moveTo>
                            <a:pt x="252028" y="295230"/>
                          </a:moveTo>
                          <a:lnTo>
                            <a:pt x="252028" y="4363682"/>
                          </a:lnTo>
                          <a:lnTo>
                            <a:pt x="7128792" y="4363682"/>
                          </a:lnTo>
                          <a:lnTo>
                            <a:pt x="7128792" y="295230"/>
                          </a:lnTo>
                          <a:close/>
                          <a:moveTo>
                            <a:pt x="264533" y="0"/>
                          </a:moveTo>
                          <a:lnTo>
                            <a:pt x="7116287" y="0"/>
                          </a:lnTo>
                          <a:cubicBezTo>
                            <a:pt x="7262385" y="0"/>
                            <a:pt x="7380820" y="118435"/>
                            <a:pt x="7380820" y="264533"/>
                          </a:cubicBezTo>
                          <a:lnTo>
                            <a:pt x="7380820" y="4394379"/>
                          </a:lnTo>
                          <a:cubicBezTo>
                            <a:pt x="7380820" y="4540477"/>
                            <a:pt x="7262385" y="4658912"/>
                            <a:pt x="7116287" y="4658912"/>
                          </a:cubicBezTo>
                          <a:lnTo>
                            <a:pt x="264533" y="4658912"/>
                          </a:lnTo>
                          <a:cubicBezTo>
                            <a:pt x="118435" y="4658912"/>
                            <a:pt x="0" y="4540477"/>
                            <a:pt x="0" y="4394379"/>
                          </a:cubicBezTo>
                          <a:lnTo>
                            <a:pt x="0" y="264533"/>
                          </a:lnTo>
                          <a:cubicBezTo>
                            <a:pt x="0" y="118435"/>
                            <a:pt x="118435" y="0"/>
                            <a:pt x="264533" y="0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>
                      <a:noFill/>
                    </a:ln>
                    <a:effectLst/>
                  </p:spPr>
                  <p:style>
                    <a:lnRef idx="1">
                      <a:schemeClr val="accent1"/>
                    </a:lnRef>
                    <a:fillRef idx="3">
                      <a:schemeClr val="accent1"/>
                    </a:fillRef>
                    <a:effectRef idx="2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square" lIns="91440" tIns="45720" rIns="91440" bIns="45720" rtlCol="0" anchor="ctr">
                      <a:normAutofit/>
                    </a:bodyPr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sz="109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p:txBody>
                </p:sp>
                <p:sp>
                  <p:nvSpPr>
                    <p:cNvPr id="41" name="ïšļîdê" hidden="1"/>
                    <p:cNvSpPr/>
                    <p:nvPr/>
                  </p:nvSpPr>
                  <p:spPr>
                    <a:xfrm>
                      <a:off x="4509683" y="1139528"/>
                      <a:ext cx="2530610" cy="4700016"/>
                    </a:xfrm>
                    <a:custGeom>
                      <a:avLst/>
                      <a:gdLst>
                        <a:gd name="connsiteX0" fmla="*/ 0 w 2530610"/>
                        <a:gd name="connsiteY0" fmla="*/ 0 h 4700016"/>
                        <a:gd name="connsiteX1" fmla="*/ 2263743 w 2530610"/>
                        <a:gd name="connsiteY1" fmla="*/ 0 h 4700016"/>
                        <a:gd name="connsiteX2" fmla="*/ 2530610 w 2530610"/>
                        <a:gd name="connsiteY2" fmla="*/ 266867 h 4700016"/>
                        <a:gd name="connsiteX3" fmla="*/ 2530610 w 2530610"/>
                        <a:gd name="connsiteY3" fmla="*/ 4433149 h 4700016"/>
                        <a:gd name="connsiteX4" fmla="*/ 2263743 w 2530610"/>
                        <a:gd name="connsiteY4" fmla="*/ 4700016 h 4700016"/>
                        <a:gd name="connsiteX5" fmla="*/ 1961175 w 2530610"/>
                        <a:gd name="connsiteY5" fmla="*/ 4700016 h 470001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2530610" h="4700016">
                          <a:moveTo>
                            <a:pt x="0" y="0"/>
                          </a:moveTo>
                          <a:lnTo>
                            <a:pt x="2263743" y="0"/>
                          </a:lnTo>
                          <a:cubicBezTo>
                            <a:pt x="2411130" y="0"/>
                            <a:pt x="2530610" y="119480"/>
                            <a:pt x="2530610" y="266867"/>
                          </a:cubicBezTo>
                          <a:lnTo>
                            <a:pt x="2530610" y="4433149"/>
                          </a:lnTo>
                          <a:cubicBezTo>
                            <a:pt x="2530610" y="4580536"/>
                            <a:pt x="2411130" y="4700016"/>
                            <a:pt x="2263743" y="4700016"/>
                          </a:cubicBezTo>
                          <a:lnTo>
                            <a:pt x="1961175" y="4700016"/>
                          </a:lnTo>
                          <a:close/>
                        </a:path>
                      </a:pathLst>
                    </a:custGeom>
                    <a:gradFill>
                      <a:gsLst>
                        <a:gs pos="0">
                          <a:srgbClr val="FFFFFF">
                            <a:alpha val="30000"/>
                          </a:srgbClr>
                        </a:gs>
                        <a:gs pos="100000">
                          <a:srgbClr val="FFFFFF">
                            <a:alpha val="0"/>
                          </a:srgbClr>
                        </a:gs>
                      </a:gsLst>
                      <a:lin ang="5400000" scaled="0"/>
                    </a:gradFill>
                    <a:ln>
                      <a:noFill/>
                    </a:ln>
                    <a:effectLst/>
                  </p:spPr>
                  <p:style>
                    <a:lnRef idx="1">
                      <a:schemeClr val="accent1"/>
                    </a:lnRef>
                    <a:fillRef idx="3">
                      <a:schemeClr val="accent1"/>
                    </a:fillRef>
                    <a:effectRef idx="2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square" lIns="91440" tIns="45720" rIns="91440" bIns="45720" rtlCol="0" anchor="ctr">
                      <a:normAutofit/>
                    </a:bodyPr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kumimoji="0" lang="en-US" sz="109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p:txBody>
                </p:sp>
              </p:grpSp>
              <p:sp>
                <p:nvSpPr>
                  <p:cNvPr id="38" name="ïṡlïdé"/>
                  <p:cNvSpPr/>
                  <p:nvPr/>
                </p:nvSpPr>
                <p:spPr>
                  <a:xfrm>
                    <a:off x="3260392" y="1241052"/>
                    <a:ext cx="144016" cy="144016"/>
                  </a:xfrm>
                  <a:prstGeom prst="ellipse">
                    <a:avLst/>
                  </a:prstGeom>
                  <a:gradFill flip="none" rotWithShape="1">
                    <a:gsLst>
                      <a:gs pos="17000">
                        <a:schemeClr val="tx1"/>
                      </a:gs>
                      <a:gs pos="34000">
                        <a:srgbClr val="000000">
                          <a:lumMod val="84000"/>
                          <a:lumOff val="16000"/>
                        </a:srgbClr>
                      </a:gs>
                      <a:gs pos="100000">
                        <a:schemeClr val="bg1">
                          <a:lumMod val="50000"/>
                          <a:lumOff val="50000"/>
                        </a:schemeClr>
                      </a:gs>
                    </a:gsLst>
                    <a:path path="circle">
                      <a:fillToRect l="50000" t="50000" r="50000" b="50000"/>
                    </a:path>
                    <a:tileRect/>
                  </a:gra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lIns="91440" tIns="45720" rIns="91440" bIns="45720" rtlCol="0" anchor="ctr">
                    <a:normAutofit fontScale="25000" lnSpcReduction="20000"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defRPr/>
                    </a:pPr>
                    <a:endParaRPr kumimoji="0" lang="en-US" sz="109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Noto Sans" panose="020B0502040504020204" pitchFamily="34" charset="0"/>
                      <a:ea typeface="Noto Sans" panose="020B0502040504020204" pitchFamily="34" charset="0"/>
                      <a:cs typeface="Noto Sans" panose="020B0502040504020204" pitchFamily="34" charset="0"/>
                    </a:endParaRPr>
                  </a:p>
                </p:txBody>
              </p:sp>
            </p:grpSp>
          </p:grpSp>
          <p:pic>
            <p:nvPicPr>
              <p:cNvPr id="29" name="图片 28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810210" y="5415463"/>
                <a:ext cx="899795" cy="1747878"/>
              </a:xfrm>
              <a:prstGeom prst="rect">
                <a:avLst/>
              </a:prstGeom>
            </p:spPr>
          </p:pic>
          <p:sp>
            <p:nvSpPr>
              <p:cNvPr id="30" name="ïṣḷîḋè"/>
              <p:cNvSpPr/>
              <p:nvPr/>
            </p:nvSpPr>
            <p:spPr>
              <a:xfrm>
                <a:off x="8769262" y="5362271"/>
                <a:ext cx="969645" cy="183959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4478" y="0"/>
                    </a:moveTo>
                    <a:cubicBezTo>
                      <a:pt x="3189" y="0"/>
                      <a:pt x="2539" y="1"/>
                      <a:pt x="1850" y="107"/>
                    </a:cubicBezTo>
                    <a:cubicBezTo>
                      <a:pt x="1093" y="241"/>
                      <a:pt x="495" y="531"/>
                      <a:pt x="219" y="899"/>
                    </a:cubicBezTo>
                    <a:cubicBezTo>
                      <a:pt x="0" y="1235"/>
                      <a:pt x="0" y="1552"/>
                      <a:pt x="0" y="2175"/>
                    </a:cubicBezTo>
                    <a:lnTo>
                      <a:pt x="0" y="19415"/>
                    </a:lnTo>
                    <a:cubicBezTo>
                      <a:pt x="0" y="20049"/>
                      <a:pt x="0" y="20365"/>
                      <a:pt x="219" y="20701"/>
                    </a:cubicBezTo>
                    <a:cubicBezTo>
                      <a:pt x="495" y="21069"/>
                      <a:pt x="1093" y="21359"/>
                      <a:pt x="1850" y="21493"/>
                    </a:cubicBezTo>
                    <a:cubicBezTo>
                      <a:pt x="2543" y="21600"/>
                      <a:pt x="3194" y="21600"/>
                      <a:pt x="4478" y="21600"/>
                    </a:cubicBezTo>
                    <a:lnTo>
                      <a:pt x="17103" y="21600"/>
                    </a:lnTo>
                    <a:cubicBezTo>
                      <a:pt x="18407" y="21600"/>
                      <a:pt x="19057" y="21600"/>
                      <a:pt x="19750" y="21493"/>
                    </a:cubicBezTo>
                    <a:cubicBezTo>
                      <a:pt x="20507" y="21359"/>
                      <a:pt x="21105" y="21069"/>
                      <a:pt x="21381" y="20701"/>
                    </a:cubicBezTo>
                    <a:cubicBezTo>
                      <a:pt x="21600" y="20365"/>
                      <a:pt x="21600" y="20048"/>
                      <a:pt x="21600" y="19425"/>
                    </a:cubicBezTo>
                    <a:lnTo>
                      <a:pt x="21600" y="2185"/>
                    </a:lnTo>
                    <a:cubicBezTo>
                      <a:pt x="21600" y="1551"/>
                      <a:pt x="21600" y="1235"/>
                      <a:pt x="21381" y="899"/>
                    </a:cubicBezTo>
                    <a:cubicBezTo>
                      <a:pt x="21105" y="531"/>
                      <a:pt x="20507" y="241"/>
                      <a:pt x="19750" y="107"/>
                    </a:cubicBezTo>
                    <a:cubicBezTo>
                      <a:pt x="19057" y="0"/>
                      <a:pt x="18406" y="0"/>
                      <a:pt x="17122" y="0"/>
                    </a:cubicBezTo>
                    <a:lnTo>
                      <a:pt x="4478" y="0"/>
                    </a:lnTo>
                    <a:close/>
                    <a:moveTo>
                      <a:pt x="4068" y="499"/>
                    </a:moveTo>
                    <a:lnTo>
                      <a:pt x="5025" y="499"/>
                    </a:lnTo>
                    <a:cubicBezTo>
                      <a:pt x="5096" y="503"/>
                      <a:pt x="5163" y="515"/>
                      <a:pt x="5212" y="541"/>
                    </a:cubicBezTo>
                    <a:cubicBezTo>
                      <a:pt x="5257" y="565"/>
                      <a:pt x="5280" y="596"/>
                      <a:pt x="5285" y="628"/>
                    </a:cubicBezTo>
                    <a:cubicBezTo>
                      <a:pt x="5292" y="675"/>
                      <a:pt x="5300" y="719"/>
                      <a:pt x="5312" y="761"/>
                    </a:cubicBezTo>
                    <a:cubicBezTo>
                      <a:pt x="5325" y="807"/>
                      <a:pt x="5343" y="851"/>
                      <a:pt x="5369" y="893"/>
                    </a:cubicBezTo>
                    <a:cubicBezTo>
                      <a:pt x="5426" y="969"/>
                      <a:pt x="5516" y="1037"/>
                      <a:pt x="5631" y="1092"/>
                    </a:cubicBezTo>
                    <a:cubicBezTo>
                      <a:pt x="5746" y="1148"/>
                      <a:pt x="5886" y="1192"/>
                      <a:pt x="6042" y="1220"/>
                    </a:cubicBezTo>
                    <a:cubicBezTo>
                      <a:pt x="6185" y="1242"/>
                      <a:pt x="6324" y="1253"/>
                      <a:pt x="6494" y="1258"/>
                    </a:cubicBezTo>
                    <a:cubicBezTo>
                      <a:pt x="6664" y="1264"/>
                      <a:pt x="6866" y="1263"/>
                      <a:pt x="7135" y="1263"/>
                    </a:cubicBezTo>
                    <a:lnTo>
                      <a:pt x="14440" y="1263"/>
                    </a:lnTo>
                    <a:cubicBezTo>
                      <a:pt x="14708" y="1263"/>
                      <a:pt x="14910" y="1264"/>
                      <a:pt x="15080" y="1258"/>
                    </a:cubicBezTo>
                    <a:cubicBezTo>
                      <a:pt x="15251" y="1253"/>
                      <a:pt x="15390" y="1242"/>
                      <a:pt x="15533" y="1220"/>
                    </a:cubicBezTo>
                    <a:cubicBezTo>
                      <a:pt x="15689" y="1192"/>
                      <a:pt x="15829" y="1148"/>
                      <a:pt x="15944" y="1092"/>
                    </a:cubicBezTo>
                    <a:cubicBezTo>
                      <a:pt x="16058" y="1037"/>
                      <a:pt x="16148" y="969"/>
                      <a:pt x="16205" y="893"/>
                    </a:cubicBezTo>
                    <a:cubicBezTo>
                      <a:pt x="16232" y="851"/>
                      <a:pt x="16249" y="807"/>
                      <a:pt x="16262" y="761"/>
                    </a:cubicBezTo>
                    <a:cubicBezTo>
                      <a:pt x="16274" y="719"/>
                      <a:pt x="16282" y="675"/>
                      <a:pt x="16289" y="628"/>
                    </a:cubicBezTo>
                    <a:cubicBezTo>
                      <a:pt x="16294" y="596"/>
                      <a:pt x="16318" y="565"/>
                      <a:pt x="16362" y="541"/>
                    </a:cubicBezTo>
                    <a:cubicBezTo>
                      <a:pt x="16412" y="515"/>
                      <a:pt x="16480" y="503"/>
                      <a:pt x="16551" y="499"/>
                    </a:cubicBezTo>
                    <a:lnTo>
                      <a:pt x="17532" y="499"/>
                    </a:lnTo>
                    <a:cubicBezTo>
                      <a:pt x="18404" y="499"/>
                      <a:pt x="18846" y="499"/>
                      <a:pt x="19317" y="571"/>
                    </a:cubicBezTo>
                    <a:cubicBezTo>
                      <a:pt x="19831" y="662"/>
                      <a:pt x="20237" y="859"/>
                      <a:pt x="20424" y="1109"/>
                    </a:cubicBezTo>
                    <a:cubicBezTo>
                      <a:pt x="20573" y="1338"/>
                      <a:pt x="20573" y="1553"/>
                      <a:pt x="20573" y="1983"/>
                    </a:cubicBezTo>
                    <a:lnTo>
                      <a:pt x="20573" y="19623"/>
                    </a:lnTo>
                    <a:cubicBezTo>
                      <a:pt x="20573" y="20046"/>
                      <a:pt x="20573" y="20262"/>
                      <a:pt x="20424" y="20491"/>
                    </a:cubicBezTo>
                    <a:cubicBezTo>
                      <a:pt x="20237" y="20741"/>
                      <a:pt x="19831" y="20938"/>
                      <a:pt x="19317" y="21029"/>
                    </a:cubicBezTo>
                    <a:cubicBezTo>
                      <a:pt x="18846" y="21101"/>
                      <a:pt x="18403" y="21101"/>
                      <a:pt x="17517" y="21101"/>
                    </a:cubicBezTo>
                    <a:lnTo>
                      <a:pt x="4068" y="21101"/>
                    </a:lnTo>
                    <a:cubicBezTo>
                      <a:pt x="3196" y="21101"/>
                      <a:pt x="2754" y="21101"/>
                      <a:pt x="2283" y="21029"/>
                    </a:cubicBezTo>
                    <a:cubicBezTo>
                      <a:pt x="1769" y="20938"/>
                      <a:pt x="1363" y="20741"/>
                      <a:pt x="1176" y="20491"/>
                    </a:cubicBezTo>
                    <a:cubicBezTo>
                      <a:pt x="1027" y="20262"/>
                      <a:pt x="1027" y="20047"/>
                      <a:pt x="1027" y="19617"/>
                    </a:cubicBezTo>
                    <a:lnTo>
                      <a:pt x="1027" y="1977"/>
                    </a:lnTo>
                    <a:cubicBezTo>
                      <a:pt x="1027" y="1554"/>
                      <a:pt x="1027" y="1338"/>
                      <a:pt x="1176" y="1109"/>
                    </a:cubicBezTo>
                    <a:cubicBezTo>
                      <a:pt x="1363" y="859"/>
                      <a:pt x="1769" y="662"/>
                      <a:pt x="2283" y="571"/>
                    </a:cubicBezTo>
                    <a:cubicBezTo>
                      <a:pt x="2751" y="499"/>
                      <a:pt x="3195" y="499"/>
                      <a:pt x="4068" y="499"/>
                    </a:cubicBezTo>
                    <a:close/>
                  </a:path>
                </a:pathLst>
              </a:custGeom>
              <a:solidFill>
                <a:schemeClr val="tx1">
                  <a:lumMod val="95000"/>
                  <a:lumOff val="5000"/>
                </a:schemeClr>
              </a:solidFill>
              <a:ln>
                <a:noFill/>
              </a:ln>
              <a:effectLst/>
            </p:spPr>
            <p:txBody>
              <a:bodyPr wrap="square" lIns="115189" tIns="57595" rIns="115189" bIns="57595" anchor="ctr">
                <a:normAutofit/>
              </a:bodyPr>
              <a:lstStyle/>
              <a:p>
                <a:pPr defTabSz="1151890"/>
                <a:endParaRPr sz="2265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1" name="íşliḓe"/>
              <p:cNvSpPr/>
              <p:nvPr/>
            </p:nvSpPr>
            <p:spPr bwMode="auto">
              <a:xfrm>
                <a:off x="5652258" y="5577339"/>
                <a:ext cx="1082040" cy="1619250"/>
              </a:xfrm>
              <a:custGeom>
                <a:avLst/>
                <a:gdLst>
                  <a:gd name="T0" fmla="*/ 12066 w 12067"/>
                  <a:gd name="T1" fmla="*/ 17195 h 18009"/>
                  <a:gd name="T2" fmla="*/ 11253 w 12067"/>
                  <a:gd name="T3" fmla="*/ 18008 h 18009"/>
                  <a:gd name="T4" fmla="*/ 813 w 12067"/>
                  <a:gd name="T5" fmla="*/ 18008 h 18009"/>
                  <a:gd name="T6" fmla="*/ 0 w 12067"/>
                  <a:gd name="T7" fmla="*/ 17195 h 18009"/>
                  <a:gd name="T8" fmla="*/ 0 w 12067"/>
                  <a:gd name="T9" fmla="*/ 813 h 18009"/>
                  <a:gd name="T10" fmla="*/ 813 w 12067"/>
                  <a:gd name="T11" fmla="*/ 0 h 18009"/>
                  <a:gd name="T12" fmla="*/ 11253 w 12067"/>
                  <a:gd name="T13" fmla="*/ 0 h 18009"/>
                  <a:gd name="T14" fmla="*/ 12066 w 12067"/>
                  <a:gd name="T15" fmla="*/ 813 h 18009"/>
                  <a:gd name="T16" fmla="*/ 12066 w 12067"/>
                  <a:gd name="T17" fmla="*/ 17195 h 1800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2067"/>
                  <a:gd name="T28" fmla="*/ 0 h 18009"/>
                  <a:gd name="T29" fmla="*/ 12067 w 12067"/>
                  <a:gd name="T30" fmla="*/ 18009 h 1800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2067" h="18009">
                    <a:moveTo>
                      <a:pt x="12066" y="17195"/>
                    </a:moveTo>
                    <a:cubicBezTo>
                      <a:pt x="12066" y="17644"/>
                      <a:pt x="11702" y="18008"/>
                      <a:pt x="11253" y="18008"/>
                    </a:cubicBezTo>
                    <a:lnTo>
                      <a:pt x="813" y="18008"/>
                    </a:lnTo>
                    <a:cubicBezTo>
                      <a:pt x="364" y="18008"/>
                      <a:pt x="0" y="17644"/>
                      <a:pt x="0" y="17195"/>
                    </a:cubicBezTo>
                    <a:lnTo>
                      <a:pt x="0" y="813"/>
                    </a:lnTo>
                    <a:cubicBezTo>
                      <a:pt x="0" y="364"/>
                      <a:pt x="364" y="0"/>
                      <a:pt x="813" y="0"/>
                    </a:cubicBezTo>
                    <a:lnTo>
                      <a:pt x="11253" y="0"/>
                    </a:lnTo>
                    <a:cubicBezTo>
                      <a:pt x="11702" y="0"/>
                      <a:pt x="12066" y="364"/>
                      <a:pt x="12066" y="813"/>
                    </a:cubicBezTo>
                    <a:lnTo>
                      <a:pt x="12066" y="17195"/>
                    </a:lnTo>
                  </a:path>
                </a:pathLst>
              </a:custGeom>
              <a:solidFill>
                <a:schemeClr val="tx1">
                  <a:lumMod val="95000"/>
                  <a:lumOff val="5000"/>
                </a:schemeClr>
              </a:solidFill>
              <a:ln>
                <a:noFill/>
              </a:ln>
              <a:effectLst/>
            </p:spPr>
            <p:txBody>
              <a:bodyPr wrap="square" lIns="115189" tIns="57595" rIns="115189" bIns="57595" anchor="ctr">
                <a:normAutofit/>
              </a:bodyPr>
              <a:lstStyle/>
              <a:p>
                <a:pPr defTabSz="1151890"/>
                <a:endParaRPr lang="en-US" sz="2265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Arial" panose="020B0604020202020204" pitchFamily="34" charset="0"/>
                </a:endParaRPr>
              </a:p>
            </p:txBody>
          </p:sp>
          <p:pic>
            <p:nvPicPr>
              <p:cNvPr id="32" name="图片 31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714302" y="5674924"/>
                <a:ext cx="957951" cy="1437676"/>
              </a:xfrm>
              <a:prstGeom prst="rect">
                <a:avLst/>
              </a:prstGeom>
            </p:spPr>
          </p:pic>
          <p:sp>
            <p:nvSpPr>
              <p:cNvPr id="33" name="îşlïḍè"/>
              <p:cNvSpPr/>
              <p:nvPr/>
            </p:nvSpPr>
            <p:spPr bwMode="auto">
              <a:xfrm>
                <a:off x="6167891" y="7134089"/>
                <a:ext cx="46286" cy="46289"/>
              </a:xfrm>
              <a:custGeom>
                <a:avLst/>
                <a:gdLst>
                  <a:gd name="T0" fmla="*/ 463 w 925"/>
                  <a:gd name="T1" fmla="*/ 925 h 926"/>
                  <a:gd name="T2" fmla="*/ 0 w 925"/>
                  <a:gd name="T3" fmla="*/ 463 h 926"/>
                  <a:gd name="T4" fmla="*/ 463 w 925"/>
                  <a:gd name="T5" fmla="*/ 0 h 926"/>
                  <a:gd name="T6" fmla="*/ 924 w 925"/>
                  <a:gd name="T7" fmla="*/ 463 h 926"/>
                  <a:gd name="T8" fmla="*/ 463 w 925"/>
                  <a:gd name="T9" fmla="*/ 925 h 92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25"/>
                  <a:gd name="T16" fmla="*/ 0 h 926"/>
                  <a:gd name="T17" fmla="*/ 925 w 925"/>
                  <a:gd name="T18" fmla="*/ 926 h 92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25" h="926">
                    <a:moveTo>
                      <a:pt x="463" y="925"/>
                    </a:moveTo>
                    <a:cubicBezTo>
                      <a:pt x="207" y="925"/>
                      <a:pt x="0" y="718"/>
                      <a:pt x="0" y="463"/>
                    </a:cubicBezTo>
                    <a:cubicBezTo>
                      <a:pt x="0" y="207"/>
                      <a:pt x="207" y="0"/>
                      <a:pt x="463" y="0"/>
                    </a:cubicBezTo>
                    <a:cubicBezTo>
                      <a:pt x="717" y="0"/>
                      <a:pt x="924" y="207"/>
                      <a:pt x="924" y="463"/>
                    </a:cubicBezTo>
                    <a:cubicBezTo>
                      <a:pt x="924" y="718"/>
                      <a:pt x="717" y="925"/>
                      <a:pt x="463" y="92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wrap="square" lIns="115189" tIns="57595" rIns="115189" bIns="57595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 sz="2265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34" name="文本框 33"/>
              <p:cNvSpPr txBox="1"/>
              <p:nvPr/>
            </p:nvSpPr>
            <p:spPr>
              <a:xfrm>
                <a:off x="6088682" y="7385204"/>
                <a:ext cx="3305060" cy="33841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Fit different types terminals</a:t>
                </a:r>
                <a:endParaRPr lang="zh-CN" alt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</p:grpSp>
        <p:grpSp>
          <p:nvGrpSpPr>
            <p:cNvPr id="10" name="组合 9"/>
            <p:cNvGrpSpPr/>
            <p:nvPr/>
          </p:nvGrpSpPr>
          <p:grpSpPr>
            <a:xfrm>
              <a:off x="8349343" y="1950260"/>
              <a:ext cx="3281183" cy="1907443"/>
              <a:chOff x="8349343" y="2085632"/>
              <a:chExt cx="3281183" cy="1907443"/>
            </a:xfrm>
          </p:grpSpPr>
          <p:sp>
            <p:nvSpPr>
              <p:cNvPr id="24" name="矩形"/>
              <p:cNvSpPr/>
              <p:nvPr/>
            </p:nvSpPr>
            <p:spPr>
              <a:xfrm>
                <a:off x="8349343" y="2085632"/>
                <a:ext cx="3281183" cy="291011"/>
              </a:xfrm>
              <a:prstGeom prst="rect">
                <a:avLst/>
              </a:prstGeom>
              <a:solidFill>
                <a:srgbClr val="4E5865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 sz="1100">
                    <a:solidFill>
                      <a:srgbClr val="ECF0F1"/>
                    </a:solidFill>
                    <a:latin typeface="+mn-lt"/>
                    <a:ea typeface="+mn-ea"/>
                    <a:cs typeface="+mn-cs"/>
                    <a:sym typeface="Helvetica"/>
                  </a:defRPr>
                </a:pPr>
                <a:r>
                  <a:rPr lang="en-US" altLang="zh-CN" sz="1200" b="1" dirty="0">
                    <a:solidFill>
                      <a:schemeClr val="bg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Quick Response to Your Questions</a:t>
                </a:r>
              </a:p>
            </p:txBody>
          </p:sp>
          <p:sp>
            <p:nvSpPr>
              <p:cNvPr id="25" name="Rectangle 28"/>
              <p:cNvSpPr txBox="1"/>
              <p:nvPr/>
            </p:nvSpPr>
            <p:spPr>
              <a:xfrm>
                <a:off x="8688867" y="3440328"/>
                <a:ext cx="2602131" cy="552747"/>
              </a:xfrm>
              <a:prstGeom prst="rect">
                <a:avLst/>
              </a:prstGeom>
              <a:ln w="12700">
                <a:miter lim="400000"/>
              </a:ln>
            </p:spPr>
            <p:txBody>
              <a:bodyPr wrap="square" lIns="45719" rIns="45719">
                <a:spAutoFit/>
              </a:bodyPr>
              <a:lstStyle/>
              <a:p>
                <a:pPr algn="ctr">
                  <a:lnSpc>
                    <a:spcPts val="1600"/>
                  </a:lnSpc>
                </a:pPr>
                <a:r>
                  <a:rPr lang="en-US" altLang="zh-CN" sz="1100" dirty="0"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Contact </a:t>
                </a:r>
                <a:r>
                  <a:rPr lang="en-US" altLang="zh-CN" sz="1100" dirty="0" err="1"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Ruijie</a:t>
                </a:r>
                <a:r>
                  <a:rPr lang="en-US" altLang="zh-CN" sz="1100" dirty="0"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 engineer for technical support</a:t>
                </a:r>
              </a:p>
            </p:txBody>
          </p:sp>
          <p:pic>
            <p:nvPicPr>
              <p:cNvPr id="26" name="图片 25"/>
              <p:cNvPicPr/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279353" y="2444674"/>
                <a:ext cx="1421161" cy="884742"/>
              </a:xfrm>
              <a:prstGeom prst="rect">
                <a:avLst/>
              </a:prstGeom>
              <a:ln w="38100" cap="sq">
                <a:solidFill>
                  <a:srgbClr val="4E5865"/>
                </a:solidFill>
                <a:prstDash val="solid"/>
                <a:miter lim="800000"/>
                <a:headEnd/>
                <a:tailEnd/>
              </a:ln>
              <a:effectLst>
                <a:outerShdw blurRad="50800" dist="38100" dir="2700000" algn="tl" rotWithShape="0">
                  <a:srgbClr val="000000">
                    <a:alpha val="43000"/>
                  </a:srgbClr>
                </a:outerShdw>
              </a:effectLst>
            </p:spPr>
          </p:pic>
        </p:grpSp>
        <p:grpSp>
          <p:nvGrpSpPr>
            <p:cNvPr id="11" name="组合 10"/>
            <p:cNvGrpSpPr/>
            <p:nvPr/>
          </p:nvGrpSpPr>
          <p:grpSpPr>
            <a:xfrm>
              <a:off x="5465253" y="1964282"/>
              <a:ext cx="2639947" cy="3887041"/>
              <a:chOff x="5009572" y="1964282"/>
              <a:chExt cx="2639947" cy="3887041"/>
            </a:xfrm>
          </p:grpSpPr>
          <p:sp>
            <p:nvSpPr>
              <p:cNvPr id="18" name="矩形"/>
              <p:cNvSpPr/>
              <p:nvPr/>
            </p:nvSpPr>
            <p:spPr>
              <a:xfrm>
                <a:off x="5009572" y="1964282"/>
                <a:ext cx="2639947" cy="276990"/>
              </a:xfrm>
              <a:prstGeom prst="rect">
                <a:avLst/>
              </a:prstGeom>
              <a:solidFill>
                <a:srgbClr val="7B99C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 sz="1100">
                    <a:solidFill>
                      <a:srgbClr val="ECF0F1"/>
                    </a:solidFill>
                    <a:latin typeface="+mn-lt"/>
                    <a:ea typeface="+mn-ea"/>
                    <a:cs typeface="+mn-cs"/>
                    <a:sym typeface="Helvetica"/>
                  </a:defRPr>
                </a:pPr>
                <a:r>
                  <a:rPr lang="en-US" altLang="zh-CN" sz="1200" b="1" dirty="0">
                    <a:solidFill>
                      <a:schemeClr val="bg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1 on 1 Suggestion Feedback </a:t>
                </a:r>
              </a:p>
            </p:txBody>
          </p:sp>
          <p:sp>
            <p:nvSpPr>
              <p:cNvPr id="19" name="Rectangle 28"/>
              <p:cNvSpPr txBox="1"/>
              <p:nvPr/>
            </p:nvSpPr>
            <p:spPr>
              <a:xfrm>
                <a:off x="5151491" y="3263510"/>
                <a:ext cx="2356108" cy="552747"/>
              </a:xfrm>
              <a:prstGeom prst="rect">
                <a:avLst/>
              </a:prstGeom>
              <a:ln w="12700">
                <a:miter lim="400000"/>
              </a:ln>
            </p:spPr>
            <p:txBody>
              <a:bodyPr wrap="square" lIns="45719" rIns="45719">
                <a:spAutoFit/>
              </a:bodyPr>
              <a:lstStyle/>
              <a:p>
                <a:pPr algn="ctr">
                  <a:lnSpc>
                    <a:spcPts val="1600"/>
                  </a:lnSpc>
                </a:pPr>
                <a:r>
                  <a:rPr lang="en-US" altLang="zh-CN" sz="1100" dirty="0"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Talk about your requirements with </a:t>
                </a:r>
                <a:r>
                  <a:rPr lang="en-US" altLang="zh-CN" sz="1100" b="1" i="1" dirty="0" err="1">
                    <a:solidFill>
                      <a:srgbClr val="C00000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Ruijie</a:t>
                </a:r>
                <a:r>
                  <a:rPr lang="en-US" altLang="zh-CN" sz="1100" b="1" i="1" dirty="0">
                    <a:solidFill>
                      <a:srgbClr val="C00000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 product manager</a:t>
                </a:r>
              </a:p>
            </p:txBody>
          </p:sp>
          <p:pic>
            <p:nvPicPr>
              <p:cNvPr id="20" name="图片 19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596997" y="2323323"/>
                <a:ext cx="1465096" cy="862928"/>
              </a:xfrm>
              <a:prstGeom prst="rect">
                <a:avLst/>
              </a:prstGeom>
              <a:ln w="38100" cap="sq">
                <a:solidFill>
                  <a:srgbClr val="7B99C3"/>
                </a:solidFill>
                <a:prstDash val="solid"/>
                <a:miter lim="800000"/>
                <a:headEnd/>
                <a:tailEnd/>
              </a:ln>
              <a:effectLst>
                <a:outerShdw blurRad="50800" dist="38100" dir="2700000" algn="tl" rotWithShape="0">
                  <a:srgbClr val="000000">
                    <a:alpha val="43000"/>
                  </a:srgbClr>
                </a:outerShdw>
              </a:effectLst>
            </p:spPr>
          </p:pic>
          <p:sp>
            <p:nvSpPr>
              <p:cNvPr id="21" name="矩形"/>
              <p:cNvSpPr/>
              <p:nvPr/>
            </p:nvSpPr>
            <p:spPr>
              <a:xfrm>
                <a:off x="5048753" y="3950039"/>
                <a:ext cx="2561583" cy="292889"/>
              </a:xfrm>
              <a:prstGeom prst="rect">
                <a:avLst/>
              </a:prstGeom>
              <a:solidFill>
                <a:schemeClr val="accent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>
                  <a:defRPr sz="1100">
                    <a:solidFill>
                      <a:srgbClr val="ECF0F1"/>
                    </a:solidFill>
                    <a:latin typeface="+mn-lt"/>
                    <a:ea typeface="+mn-ea"/>
                    <a:cs typeface="+mn-cs"/>
                    <a:sym typeface="Helvetica"/>
                  </a:defRPr>
                </a:pPr>
                <a:r>
                  <a:rPr lang="en-US" altLang="zh-CN" sz="1200" b="1" dirty="0">
                    <a:solidFill>
                      <a:schemeClr val="bg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Latest Technical Sharing </a:t>
                </a:r>
              </a:p>
            </p:txBody>
          </p:sp>
          <p:sp>
            <p:nvSpPr>
              <p:cNvPr id="22" name="Rectangle 28"/>
              <p:cNvSpPr txBox="1"/>
              <p:nvPr/>
            </p:nvSpPr>
            <p:spPr>
              <a:xfrm>
                <a:off x="5182264" y="5298576"/>
                <a:ext cx="2467255" cy="552747"/>
              </a:xfrm>
              <a:prstGeom prst="rect">
                <a:avLst/>
              </a:prstGeom>
              <a:ln w="12700">
                <a:miter lim="400000"/>
              </a:ln>
            </p:spPr>
            <p:txBody>
              <a:bodyPr wrap="square" lIns="45719" rIns="45719">
                <a:spAutoFit/>
              </a:bodyPr>
              <a:lstStyle/>
              <a:p>
                <a:pPr algn="ctr">
                  <a:lnSpc>
                    <a:spcPts val="1600"/>
                  </a:lnSpc>
                </a:pPr>
                <a:r>
                  <a:rPr lang="en-US" altLang="zh-CN" sz="1100" b="1" i="1" dirty="0">
                    <a:solidFill>
                      <a:srgbClr val="C00000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3000+ posts </a:t>
                </a:r>
                <a:r>
                  <a:rPr lang="en-US" altLang="zh-CN" sz="1100" dirty="0"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help you catch the trend of </a:t>
                </a:r>
                <a:r>
                  <a:rPr lang="en-US" altLang="zh-CN" sz="1100" dirty="0" err="1"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Ruijie</a:t>
                </a:r>
                <a:r>
                  <a:rPr lang="en-US" altLang="zh-CN" sz="1100" dirty="0"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 technology</a:t>
                </a:r>
              </a:p>
            </p:txBody>
          </p:sp>
          <p:pic>
            <p:nvPicPr>
              <p:cNvPr id="23" name="图片 22"/>
              <p:cNvPicPr/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6951" b="12464"/>
              <a:stretch>
                <a:fillRect/>
              </a:stretch>
            </p:blipFill>
            <p:spPr>
              <a:xfrm>
                <a:off x="5586111" y="4307490"/>
                <a:ext cx="1465096" cy="916376"/>
              </a:xfrm>
              <a:prstGeom prst="rect">
                <a:avLst/>
              </a:prstGeom>
              <a:ln w="38100" cap="sq">
                <a:solidFill>
                  <a:srgbClr val="868DA1"/>
                </a:solidFill>
                <a:prstDash val="solid"/>
                <a:miter lim="800000"/>
                <a:headEnd/>
                <a:tailEnd/>
              </a:ln>
              <a:effectLst>
                <a:outerShdw blurRad="50800" dist="38100" dir="2700000" algn="tl" rotWithShape="0">
                  <a:srgbClr val="000000">
                    <a:alpha val="43000"/>
                  </a:srgbClr>
                </a:outerShdw>
              </a:effectLst>
            </p:spPr>
          </p:pic>
        </p:grpSp>
        <p:sp>
          <p:nvSpPr>
            <p:cNvPr id="12" name="矩形"/>
            <p:cNvSpPr/>
            <p:nvPr/>
          </p:nvSpPr>
          <p:spPr>
            <a:xfrm>
              <a:off x="8349343" y="3947499"/>
              <a:ext cx="3183212" cy="292889"/>
            </a:xfrm>
            <a:prstGeom prst="rect">
              <a:avLst/>
            </a:prstGeom>
            <a:solidFill>
              <a:srgbClr val="5F96C3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1100">
                  <a:solidFill>
                    <a:srgbClr val="ECF0F1"/>
                  </a:solidFill>
                  <a:latin typeface="+mn-lt"/>
                  <a:ea typeface="+mn-ea"/>
                  <a:cs typeface="+mn-cs"/>
                  <a:sym typeface="Helvetica"/>
                </a:defRPr>
              </a:pPr>
              <a:r>
                <a:rPr lang="en-US" sz="1200" b="1" dirty="0">
                  <a:solidFill>
                    <a:schemeClr val="bg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Bountiful Gifts and Rewards</a:t>
              </a:r>
            </a:p>
          </p:txBody>
        </p:sp>
        <p:sp>
          <p:nvSpPr>
            <p:cNvPr id="13" name="Rectangle 28"/>
            <p:cNvSpPr txBox="1"/>
            <p:nvPr/>
          </p:nvSpPr>
          <p:spPr>
            <a:xfrm>
              <a:off x="8634410" y="5305916"/>
              <a:ext cx="2731863" cy="552747"/>
            </a:xfrm>
            <a:prstGeom prst="rect">
              <a:avLst/>
            </a:prstGeom>
            <a:ln w="12700">
              <a:miter lim="400000"/>
            </a:ln>
          </p:spPr>
          <p:txBody>
            <a:bodyPr wrap="square" lIns="45719" rIns="45719">
              <a:spAutoFit/>
            </a:bodyPr>
            <a:lstStyle/>
            <a:p>
              <a:pPr algn="ctr">
                <a:lnSpc>
                  <a:spcPts val="1600"/>
                </a:lnSpc>
              </a:pPr>
              <a:r>
                <a:rPr lang="en-US" altLang="zh-CN" sz="1100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Join in Community activities to get </a:t>
              </a:r>
              <a:r>
                <a:rPr lang="en-US" altLang="zh-CN" sz="1100" b="1" i="1" dirty="0">
                  <a:solidFill>
                    <a:srgbClr val="C00000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bountiful gifts and rewards</a:t>
              </a:r>
            </a:p>
          </p:txBody>
        </p:sp>
        <p:grpSp>
          <p:nvGrpSpPr>
            <p:cNvPr id="14" name="组合 13"/>
            <p:cNvGrpSpPr/>
            <p:nvPr/>
          </p:nvGrpSpPr>
          <p:grpSpPr>
            <a:xfrm>
              <a:off x="9187958" y="4329417"/>
              <a:ext cx="1505982" cy="894449"/>
              <a:chOff x="7270375" y="4373880"/>
              <a:chExt cx="2454935" cy="1458061"/>
            </a:xfrm>
          </p:grpSpPr>
          <p:pic>
            <p:nvPicPr>
              <p:cNvPr id="16" name="图片 15"/>
              <p:cNvPicPr/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270376" y="4378612"/>
                <a:ext cx="2454934" cy="1453329"/>
              </a:xfrm>
              <a:prstGeom prst="rect">
                <a:avLst/>
              </a:prstGeom>
              <a:ln w="38100" cap="sq">
                <a:solidFill>
                  <a:srgbClr val="5F96C3"/>
                </a:solidFill>
                <a:prstDash val="solid"/>
                <a:miter lim="800000"/>
                <a:headEnd/>
                <a:tailEnd/>
              </a:ln>
              <a:effectLst>
                <a:outerShdw blurRad="50800" dist="38100" dir="2700000" algn="tl" rotWithShape="0">
                  <a:srgbClr val="000000">
                    <a:alpha val="43000"/>
                  </a:srgbClr>
                </a:outerShdw>
              </a:effectLst>
            </p:spPr>
          </p:pic>
          <p:pic>
            <p:nvPicPr>
              <p:cNvPr id="17" name="图片 16"/>
              <p:cNvPicPr>
                <a:picLocks noChangeAspect="1"/>
              </p:cNvPicPr>
              <p:nvPr/>
            </p:nvPicPr>
            <p:blipFill rotWithShape="1"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0722" t="28812" r="3535" b="1"/>
              <a:stretch>
                <a:fillRect/>
              </a:stretch>
            </p:blipFill>
            <p:spPr>
              <a:xfrm>
                <a:off x="7270375" y="4373880"/>
                <a:ext cx="2454935" cy="1458061"/>
              </a:xfrm>
              <a:prstGeom prst="rect">
                <a:avLst/>
              </a:prstGeom>
            </p:spPr>
          </p:pic>
        </p:grpSp>
        <p:pic>
          <p:nvPicPr>
            <p:cNvPr id="15" name="图片 14"/>
            <p:cNvPicPr/>
            <p:nvPr/>
          </p:nvPicPr>
          <p:blipFill>
            <a:blip r:embed="rId11"/>
            <a:stretch>
              <a:fillRect/>
            </a:stretch>
          </p:blipFill>
          <p:spPr>
            <a:xfrm>
              <a:off x="2244005" y="4797953"/>
              <a:ext cx="990744" cy="990744"/>
            </a:xfrm>
            <a:prstGeom prst="rect">
              <a:avLst/>
            </a:prstGeom>
            <a:noFill/>
            <a:ln w="9525">
              <a:noFill/>
            </a:ln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76734" y="402155"/>
            <a:ext cx="10727332" cy="605684"/>
          </a:xfrm>
        </p:spPr>
        <p:txBody>
          <a:bodyPr/>
          <a:lstStyle/>
          <a:p>
            <a:r>
              <a:rPr lang="en-US" altLang="zh-CN" dirty="0" err="1">
                <a:solidFill>
                  <a:schemeClr val="tx1"/>
                </a:solidFill>
                <a:latin typeface="Noto Sans Black" panose="020B0A02040504020204"/>
              </a:rPr>
              <a:t>Ruijie</a:t>
            </a:r>
            <a:r>
              <a:rPr lang="en-US" altLang="zh-CN" dirty="0">
                <a:solidFill>
                  <a:schemeClr val="tx1"/>
                </a:solidFill>
                <a:latin typeface="Noto Sans Black" panose="020B0A02040504020204"/>
              </a:rPr>
              <a:t> Service Platform: </a:t>
            </a:r>
            <a:r>
              <a:rPr lang="en-US" altLang="zh-CN" dirty="0">
                <a:latin typeface="Noto Sans Black" panose="020B0A02040504020204"/>
              </a:rPr>
              <a:t>Community</a:t>
            </a:r>
          </a:p>
        </p:txBody>
      </p:sp>
      <p:grpSp>
        <p:nvGrpSpPr>
          <p:cNvPr id="64" name="组合 63"/>
          <p:cNvGrpSpPr/>
          <p:nvPr/>
        </p:nvGrpSpPr>
        <p:grpSpPr>
          <a:xfrm>
            <a:off x="576733" y="1204824"/>
            <a:ext cx="4606653" cy="899181"/>
            <a:chOff x="513519" y="1206816"/>
            <a:chExt cx="3819916" cy="899181"/>
          </a:xfrm>
        </p:grpSpPr>
        <p:sp>
          <p:nvSpPr>
            <p:cNvPr id="52" name="矩形 51"/>
            <p:cNvSpPr/>
            <p:nvPr/>
          </p:nvSpPr>
          <p:spPr>
            <a:xfrm>
              <a:off x="513519" y="1582777"/>
              <a:ext cx="3819916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400" kern="1400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Searching range includes Posts, </a:t>
              </a:r>
              <a:r>
                <a:rPr lang="en-US" altLang="zh-CN" sz="1400" b="1" i="1" kern="1400" dirty="0">
                  <a:solidFill>
                    <a:srgbClr val="C00000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Comments, Users, Documents, Videos, Blogs.</a:t>
              </a:r>
            </a:p>
          </p:txBody>
        </p:sp>
        <p:sp>
          <p:nvSpPr>
            <p:cNvPr id="47" name="文本框 46"/>
            <p:cNvSpPr txBox="1"/>
            <p:nvPr/>
          </p:nvSpPr>
          <p:spPr>
            <a:xfrm>
              <a:off x="579252" y="1206816"/>
              <a:ext cx="3688451" cy="338554"/>
            </a:xfrm>
            <a:prstGeom prst="rect">
              <a:avLst/>
            </a:prstGeom>
            <a:solidFill>
              <a:srgbClr val="5F96C3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600" b="1" dirty="0">
                  <a:solidFill>
                    <a:schemeClr val="bg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A Broader Searching Range</a:t>
              </a:r>
            </a:p>
          </p:txBody>
        </p:sp>
      </p:grpSp>
      <p:grpSp>
        <p:nvGrpSpPr>
          <p:cNvPr id="69" name="组合 68"/>
          <p:cNvGrpSpPr/>
          <p:nvPr/>
        </p:nvGrpSpPr>
        <p:grpSpPr>
          <a:xfrm>
            <a:off x="576733" y="3765333"/>
            <a:ext cx="4521721" cy="667942"/>
            <a:chOff x="546273" y="3892929"/>
            <a:chExt cx="5421637" cy="667942"/>
          </a:xfrm>
        </p:grpSpPr>
        <p:sp>
          <p:nvSpPr>
            <p:cNvPr id="55" name="矩形 54"/>
            <p:cNvSpPr/>
            <p:nvPr/>
          </p:nvSpPr>
          <p:spPr>
            <a:xfrm>
              <a:off x="546273" y="4253094"/>
              <a:ext cx="5421637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400" kern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Multiple and attractive </a:t>
              </a:r>
              <a:r>
                <a:rPr lang="en-US" altLang="zh-CN" sz="1400" b="1" i="1" kern="1400" dirty="0">
                  <a:solidFill>
                    <a:srgbClr val="C00000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points exchange ways and medal list</a:t>
              </a:r>
            </a:p>
          </p:txBody>
        </p:sp>
        <p:sp>
          <p:nvSpPr>
            <p:cNvPr id="54" name="文本框 53"/>
            <p:cNvSpPr txBox="1"/>
            <p:nvPr/>
          </p:nvSpPr>
          <p:spPr>
            <a:xfrm>
              <a:off x="646751" y="3892929"/>
              <a:ext cx="5270686" cy="338554"/>
            </a:xfrm>
            <a:prstGeom prst="rect">
              <a:avLst/>
            </a:prstGeom>
            <a:solidFill>
              <a:srgbClr val="5F96C3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600" b="1" dirty="0">
                  <a:solidFill>
                    <a:schemeClr val="bg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Incentive Points and Medals System</a:t>
              </a:r>
            </a:p>
          </p:txBody>
        </p:sp>
      </p:grpSp>
      <p:pic>
        <p:nvPicPr>
          <p:cNvPr id="57" name="图片 56"/>
          <p:cNvPicPr>
            <a:picLocks noChangeAspect="1"/>
          </p:cNvPicPr>
          <p:nvPr/>
        </p:nvPicPr>
        <p:blipFill rotWithShape="1">
          <a:blip r:embed="rId2"/>
          <a:srcRect l="1038" r="1842"/>
          <a:stretch/>
        </p:blipFill>
        <p:spPr>
          <a:xfrm>
            <a:off x="7142521" y="2277921"/>
            <a:ext cx="2936125" cy="104684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6" name="图片 55"/>
          <p:cNvPicPr>
            <a:picLocks noChangeAspect="1"/>
          </p:cNvPicPr>
          <p:nvPr/>
        </p:nvPicPr>
        <p:blipFill rotWithShape="1">
          <a:blip r:embed="rId3"/>
          <a:srcRect b="11958"/>
          <a:stretch/>
        </p:blipFill>
        <p:spPr>
          <a:xfrm>
            <a:off x="1294954" y="2242550"/>
            <a:ext cx="2936125" cy="108771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8" name="图片 57"/>
          <p:cNvPicPr>
            <a:picLocks noChangeAspect="1"/>
          </p:cNvPicPr>
          <p:nvPr/>
        </p:nvPicPr>
        <p:blipFill rotWithShape="1">
          <a:blip r:embed="rId4"/>
          <a:srcRect b="5675"/>
          <a:stretch/>
        </p:blipFill>
        <p:spPr>
          <a:xfrm>
            <a:off x="1369530" y="4694706"/>
            <a:ext cx="2936125" cy="116942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9" name="图片 58"/>
          <p:cNvPicPr>
            <a:picLocks noChangeAspect="1"/>
          </p:cNvPicPr>
          <p:nvPr/>
        </p:nvPicPr>
        <p:blipFill rotWithShape="1">
          <a:blip r:embed="rId5"/>
          <a:srcRect l="1025" r="1302"/>
          <a:stretch/>
        </p:blipFill>
        <p:spPr>
          <a:xfrm>
            <a:off x="7170777" y="4708488"/>
            <a:ext cx="2936125" cy="111303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grpSp>
        <p:nvGrpSpPr>
          <p:cNvPr id="70" name="组合 69"/>
          <p:cNvGrpSpPr/>
          <p:nvPr/>
        </p:nvGrpSpPr>
        <p:grpSpPr>
          <a:xfrm>
            <a:off x="6310970" y="3764317"/>
            <a:ext cx="4515805" cy="668958"/>
            <a:chOff x="588311" y="5085431"/>
            <a:chExt cx="5379599" cy="668958"/>
          </a:xfrm>
        </p:grpSpPr>
        <p:sp>
          <p:nvSpPr>
            <p:cNvPr id="46" name="矩形 45"/>
            <p:cNvSpPr/>
            <p:nvPr/>
          </p:nvSpPr>
          <p:spPr>
            <a:xfrm>
              <a:off x="588311" y="5446612"/>
              <a:ext cx="5379599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400" kern="1400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A </a:t>
              </a:r>
              <a:r>
                <a:rPr lang="en-US" altLang="zh-CN" sz="1400" b="1" i="1" kern="1400" dirty="0">
                  <a:solidFill>
                    <a:srgbClr val="C00000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public suggestion feedback </a:t>
              </a:r>
              <a:r>
                <a:rPr lang="en-US" altLang="zh-CN" sz="1400" kern="1400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channel for all customers</a:t>
              </a:r>
            </a:p>
          </p:txBody>
        </p:sp>
        <p:sp>
          <p:nvSpPr>
            <p:cNvPr id="45" name="文本框 44"/>
            <p:cNvSpPr txBox="1"/>
            <p:nvPr/>
          </p:nvSpPr>
          <p:spPr>
            <a:xfrm>
              <a:off x="669504" y="5085431"/>
              <a:ext cx="5245334" cy="338554"/>
            </a:xfrm>
            <a:prstGeom prst="rect">
              <a:avLst/>
            </a:prstGeom>
            <a:solidFill>
              <a:srgbClr val="5F96C3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600" b="1" dirty="0">
                  <a:solidFill>
                    <a:schemeClr val="bg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A New Post type "Talk to Ruijie" </a:t>
              </a:r>
            </a:p>
          </p:txBody>
        </p:sp>
      </p:grpSp>
      <p:grpSp>
        <p:nvGrpSpPr>
          <p:cNvPr id="67" name="组合 66"/>
          <p:cNvGrpSpPr/>
          <p:nvPr/>
        </p:nvGrpSpPr>
        <p:grpSpPr>
          <a:xfrm>
            <a:off x="6335514" y="1212108"/>
            <a:ext cx="4606653" cy="973145"/>
            <a:chOff x="1366961" y="2538088"/>
            <a:chExt cx="3833473" cy="973145"/>
          </a:xfrm>
        </p:grpSpPr>
        <p:sp>
          <p:nvSpPr>
            <p:cNvPr id="51" name="矩形 50"/>
            <p:cNvSpPr/>
            <p:nvPr/>
          </p:nvSpPr>
          <p:spPr>
            <a:xfrm>
              <a:off x="1366961" y="2988013"/>
              <a:ext cx="3833473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400" b="1" i="1" kern="1400" dirty="0">
                  <a:solidFill>
                    <a:srgbClr val="C00000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30</a:t>
              </a:r>
              <a:r>
                <a:rPr lang="en-US" altLang="zh-CN" sz="1400" kern="14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languages are supported to translate the whole page of the posts</a:t>
              </a:r>
            </a:p>
          </p:txBody>
        </p:sp>
        <p:sp>
          <p:nvSpPr>
            <p:cNvPr id="65" name="文本框 64"/>
            <p:cNvSpPr txBox="1"/>
            <p:nvPr/>
          </p:nvSpPr>
          <p:spPr>
            <a:xfrm>
              <a:off x="1415959" y="2538088"/>
              <a:ext cx="3688451" cy="338554"/>
            </a:xfrm>
            <a:prstGeom prst="rect">
              <a:avLst/>
            </a:prstGeom>
            <a:solidFill>
              <a:srgbClr val="5F96C3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600" b="1" dirty="0">
                  <a:solidFill>
                    <a:schemeClr val="bg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Multi-Languages Auto-transl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58299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76734" y="402155"/>
            <a:ext cx="10727332" cy="605684"/>
          </a:xfrm>
        </p:spPr>
        <p:txBody>
          <a:bodyPr/>
          <a:lstStyle/>
          <a:p>
            <a:r>
              <a:rPr lang="it-IT" altLang="zh-CN" dirty="0">
                <a:solidFill>
                  <a:schemeClr val="tx1"/>
                </a:solidFill>
                <a:latin typeface="Noto Sans Black" panose="020B0A02040504020204"/>
              </a:rPr>
              <a:t>Social Media: </a:t>
            </a:r>
            <a:r>
              <a:rPr lang="it-IT" altLang="zh-CN" dirty="0">
                <a:latin typeface="Noto Sans Black" panose="020B0A02040504020204"/>
              </a:rPr>
              <a:t>Facebook &amp; LinkedIn Page</a:t>
            </a:r>
          </a:p>
        </p:txBody>
      </p:sp>
      <p:sp>
        <p:nvSpPr>
          <p:cNvPr id="110" name="内容占位符 2"/>
          <p:cNvSpPr txBox="1"/>
          <p:nvPr/>
        </p:nvSpPr>
        <p:spPr>
          <a:xfrm>
            <a:off x="576000" y="1333650"/>
            <a:ext cx="5111442" cy="429947"/>
          </a:xfrm>
          <a:prstGeom prst="rect">
            <a:avLst/>
          </a:prstGeom>
        </p:spPr>
        <p:txBody>
          <a:bodyPr/>
          <a:lstStyle>
            <a:lvl1pPr marL="0" indent="0" algn="l" defTabSz="863600" rtl="0" eaLnBrk="1" latinLnBrk="0" hangingPunct="1">
              <a:lnSpc>
                <a:spcPct val="120000"/>
              </a:lnSpc>
              <a:spcBef>
                <a:spcPts val="945"/>
              </a:spcBef>
              <a:buFont typeface="Arial" panose="020B0604020202020204" pitchFamily="34" charset="0"/>
              <a:buNone/>
              <a:defRPr sz="1200" kern="1200">
                <a:solidFill>
                  <a:srgbClr val="50555A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431800" indent="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None/>
              <a:defRPr sz="2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1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19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437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8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86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04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22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Get the firsthand information about </a:t>
            </a:r>
            <a:r>
              <a:rPr lang="en-US" altLang="zh-CN" sz="1800" b="1" dirty="0" err="1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uijie</a:t>
            </a:r>
            <a:endParaRPr lang="en-US" altLang="zh-CN" sz="1800" b="1" dirty="0">
              <a:solidFill>
                <a:srgbClr val="C00000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  <a:p>
            <a:r>
              <a:rPr lang="en-US" altLang="zh-CN" sz="1400" dirty="0" err="1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uijie</a:t>
            </a:r>
            <a:r>
              <a:rPr lang="en-US" altLang="zh-CN" sz="14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Tech Support shares the firsthand news about technology, training, official activities on the social media.</a:t>
            </a:r>
            <a:endParaRPr lang="en-US" altLang="zh-CN" sz="1800" dirty="0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  <a:p>
            <a:r>
              <a:rPr lang="en-US" altLang="zh-CN" sz="18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ccess manual service through Facebook page</a:t>
            </a:r>
          </a:p>
          <a:p>
            <a:r>
              <a:rPr lang="en-US" altLang="zh-CN" sz="14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hat with </a:t>
            </a:r>
            <a:r>
              <a:rPr lang="en-US" altLang="zh-CN" sz="1400" dirty="0" err="1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uijie</a:t>
            </a:r>
            <a:r>
              <a:rPr lang="en-US" altLang="zh-CN" sz="14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engineer online by sending message to the public page.</a:t>
            </a:r>
          </a:p>
        </p:txBody>
      </p:sp>
      <p:pic>
        <p:nvPicPr>
          <p:cNvPr id="44" name="图片 43"/>
          <p:cNvPicPr>
            <a:picLocks noChangeAspect="1"/>
          </p:cNvPicPr>
          <p:nvPr/>
        </p:nvPicPr>
        <p:blipFill rotWithShape="1">
          <a:blip r:embed="rId3"/>
          <a:srcRect t="3189" b="3740"/>
          <a:stretch>
            <a:fillRect/>
          </a:stretch>
        </p:blipFill>
        <p:spPr>
          <a:xfrm>
            <a:off x="6121130" y="1291291"/>
            <a:ext cx="4706669" cy="2176464"/>
          </a:xfrm>
          <a:prstGeom prst="rect">
            <a:avLst/>
          </a:prstGeom>
        </p:spPr>
      </p:pic>
      <p:pic>
        <p:nvPicPr>
          <p:cNvPr id="45" name="图片 4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6121129" y="3529415"/>
            <a:ext cx="4706671" cy="2012971"/>
          </a:xfrm>
          <a:prstGeom prst="rect">
            <a:avLst/>
          </a:prstGeom>
        </p:spPr>
      </p:pic>
      <p:grpSp>
        <p:nvGrpSpPr>
          <p:cNvPr id="46" name="组合 45"/>
          <p:cNvGrpSpPr/>
          <p:nvPr/>
        </p:nvGrpSpPr>
        <p:grpSpPr>
          <a:xfrm>
            <a:off x="576000" y="4176191"/>
            <a:ext cx="5486967" cy="1327099"/>
            <a:chOff x="836163" y="3888419"/>
            <a:chExt cx="6012083" cy="1454106"/>
          </a:xfrm>
        </p:grpSpPr>
        <p:sp>
          <p:nvSpPr>
            <p:cNvPr id="47" name="文本框 46"/>
            <p:cNvSpPr txBox="1"/>
            <p:nvPr/>
          </p:nvSpPr>
          <p:spPr>
            <a:xfrm>
              <a:off x="836163" y="3895552"/>
              <a:ext cx="6012083" cy="4046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  <a:buSzPct val="25000"/>
              </a:pPr>
              <a:r>
                <a:rPr lang="en-US" altLang="zh-CN" sz="1200" b="1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Facebook: </a:t>
              </a:r>
              <a:r>
                <a:rPr lang="en-US" altLang="zh-CN" sz="1200" i="1" dirty="0" err="1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Ruijie</a:t>
              </a:r>
              <a:r>
                <a:rPr lang="en-US" altLang="zh-CN" sz="1200" i="1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Tech Support</a:t>
              </a:r>
            </a:p>
          </p:txBody>
        </p:sp>
        <p:pic>
          <p:nvPicPr>
            <p:cNvPr id="48" name="图片 4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17399" y="4237841"/>
              <a:ext cx="1104684" cy="1104684"/>
            </a:xfrm>
            <a:prstGeom prst="rect">
              <a:avLst/>
            </a:prstGeom>
          </p:spPr>
        </p:pic>
        <p:sp>
          <p:nvSpPr>
            <p:cNvPr id="49" name="文本框 48"/>
            <p:cNvSpPr txBox="1"/>
            <p:nvPr/>
          </p:nvSpPr>
          <p:spPr>
            <a:xfrm>
              <a:off x="3842207" y="3888419"/>
              <a:ext cx="2589072" cy="4046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  <a:buSzPct val="25000"/>
              </a:pPr>
              <a:r>
                <a:rPr lang="en-US" altLang="zh-CN" sz="1200" b="1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LinkedIn: </a:t>
              </a:r>
              <a:r>
                <a:rPr lang="en-US" altLang="zh-CN" sz="1200" i="1" dirty="0" err="1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Ruijie</a:t>
              </a:r>
              <a:r>
                <a:rPr lang="en-US" altLang="zh-CN" sz="1200" i="1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Tech Support</a:t>
              </a:r>
            </a:p>
          </p:txBody>
        </p:sp>
        <p:pic>
          <p:nvPicPr>
            <p:cNvPr id="50" name="图片 4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87212" y="4230708"/>
              <a:ext cx="1085549" cy="1085549"/>
            </a:xfrm>
            <a:prstGeom prst="rect">
              <a:avLst/>
            </a:prstGeom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1" dirty="0">
                <a:latin typeface="Noto Sans Black" panose="020B0A02040504020204"/>
              </a:rPr>
              <a:t>Version Information</a:t>
            </a:r>
          </a:p>
        </p:txBody>
      </p:sp>
      <p:graphicFrame>
        <p:nvGraphicFramePr>
          <p:cNvPr id="5" name="表格 4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9315010"/>
              </p:ext>
            </p:extLst>
          </p:nvPr>
        </p:nvGraphicFramePr>
        <p:xfrm>
          <a:off x="1006922" y="1655911"/>
          <a:ext cx="9649827" cy="25789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1660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21660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21660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52195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455880"/>
                          </a:solidFill>
                          <a:latin typeface="+mn-lt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Last Edit</a:t>
                      </a:r>
                      <a:r>
                        <a:rPr lang="en-US" baseline="0" dirty="0">
                          <a:solidFill>
                            <a:srgbClr val="455880"/>
                          </a:solidFill>
                          <a:latin typeface="+mn-lt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 </a:t>
                      </a:r>
                      <a:r>
                        <a:rPr lang="en-US" dirty="0">
                          <a:solidFill>
                            <a:srgbClr val="455880"/>
                          </a:solidFill>
                          <a:latin typeface="+mn-lt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Da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455880"/>
                          </a:solidFill>
                          <a:latin typeface="+mn-lt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Vers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rgbClr val="455880"/>
                          </a:solidFill>
                          <a:latin typeface="+mn-lt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Update B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112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Jan 23</a:t>
                      </a:r>
                      <a:r>
                        <a:rPr lang="en-US" baseline="300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r</a:t>
                      </a:r>
                      <a:r>
                        <a:rPr lang="en-US" altLang="zh-CN" baseline="300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d</a:t>
                      </a:r>
                      <a:r>
                        <a:rPr lang="en-US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, 20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V1.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Eurek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1120">
                <a:tc>
                  <a:txBody>
                    <a:bodyPr/>
                    <a:lstStyle/>
                    <a:p>
                      <a:pPr marL="0" marR="0" indent="0" algn="ctr" defTabSz="863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Apr 27</a:t>
                      </a:r>
                      <a:r>
                        <a:rPr lang="en-US" baseline="300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th</a:t>
                      </a:r>
                      <a:r>
                        <a:rPr lang="en-US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, 20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863600" rtl="0" eaLnBrk="1" latinLnBrk="0" hangingPunct="1"/>
                      <a:r>
                        <a:rPr lang="en-US" sz="17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V2.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Eurek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1120">
                <a:tc>
                  <a:txBody>
                    <a:bodyPr/>
                    <a:lstStyle/>
                    <a:p>
                      <a:pPr marL="0" algn="ctr" defTabSz="863600" rtl="0" eaLnBrk="1" latinLnBrk="0" hangingPunct="1"/>
                      <a:r>
                        <a:rPr lang="en-US" altLang="zh-CN" sz="1700" kern="12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Aug 20, 2024</a:t>
                      </a:r>
                      <a:endParaRPr lang="en-US" altLang="zh-CN" sz="17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V3.0</a:t>
                      </a:r>
                      <a:endParaRPr lang="en-US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Joan</a:t>
                      </a:r>
                      <a:endParaRPr lang="en-US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1120">
                <a:tc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1120">
                <a:tc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1120">
                <a:tc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76734" y="402155"/>
            <a:ext cx="10727332" cy="605684"/>
          </a:xfrm>
        </p:spPr>
        <p:txBody>
          <a:bodyPr/>
          <a:lstStyle/>
          <a:p>
            <a:r>
              <a:rPr lang="it-IT" altLang="zh-CN" dirty="0">
                <a:solidFill>
                  <a:schemeClr val="tx1"/>
                </a:solidFill>
                <a:latin typeface="Noto Sans Black" panose="020B0A02040504020204"/>
              </a:rPr>
              <a:t>Social Media: </a:t>
            </a:r>
            <a:r>
              <a:rPr lang="it-IT" altLang="zh-CN" dirty="0">
                <a:latin typeface="Noto Sans Black" panose="020B0A02040504020204"/>
              </a:rPr>
              <a:t>YouTube </a:t>
            </a:r>
            <a:r>
              <a:rPr lang="it-IT" altLang="zh-CN" dirty="0" smtClean="0">
                <a:latin typeface="Noto Sans Black" panose="020B0A02040504020204"/>
              </a:rPr>
              <a:t>Channel</a:t>
            </a:r>
            <a:endParaRPr lang="it-IT" altLang="zh-CN" dirty="0">
              <a:latin typeface="Noto Sans Black" panose="020B0A02040504020204"/>
            </a:endParaRPr>
          </a:p>
        </p:txBody>
      </p:sp>
      <p:sp>
        <p:nvSpPr>
          <p:cNvPr id="110" name="内容占位符 2"/>
          <p:cNvSpPr txBox="1"/>
          <p:nvPr/>
        </p:nvSpPr>
        <p:spPr>
          <a:xfrm>
            <a:off x="576000" y="1623706"/>
            <a:ext cx="5111442" cy="429947"/>
          </a:xfrm>
          <a:prstGeom prst="rect">
            <a:avLst/>
          </a:prstGeom>
        </p:spPr>
        <p:txBody>
          <a:bodyPr/>
          <a:lstStyle>
            <a:lvl1pPr marL="0" indent="0" algn="l" defTabSz="863600" rtl="0" eaLnBrk="1" latinLnBrk="0" hangingPunct="1">
              <a:lnSpc>
                <a:spcPct val="120000"/>
              </a:lnSpc>
              <a:spcBef>
                <a:spcPts val="945"/>
              </a:spcBef>
              <a:buFont typeface="Arial" panose="020B0604020202020204" pitchFamily="34" charset="0"/>
              <a:buNone/>
              <a:defRPr sz="1200" kern="1200">
                <a:solidFill>
                  <a:srgbClr val="50555A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431800" indent="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None/>
              <a:defRPr sz="2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1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19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437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8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86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04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22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Latest </a:t>
            </a:r>
            <a:r>
              <a:rPr lang="en-US" altLang="zh-CN" sz="1800" b="1" dirty="0" err="1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uijie</a:t>
            </a:r>
            <a:r>
              <a:rPr lang="en-US" altLang="zh-CN" sz="18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training course </a:t>
            </a:r>
          </a:p>
          <a:p>
            <a:r>
              <a:rPr lang="en-US" altLang="zh-CN" sz="14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The certified courses and recording videos of public training will be updated here. </a:t>
            </a:r>
          </a:p>
          <a:p>
            <a:endParaRPr lang="en-US" altLang="zh-CN" sz="1400" dirty="0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  <a:p>
            <a:r>
              <a:rPr lang="en-US" altLang="zh-CN" sz="18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Technical videos</a:t>
            </a:r>
          </a:p>
          <a:p>
            <a:r>
              <a:rPr lang="en-US" altLang="zh-CN" sz="14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Find various configuration guidance in How-to Series </a:t>
            </a:r>
          </a:p>
        </p:txBody>
      </p:sp>
      <p:grpSp>
        <p:nvGrpSpPr>
          <p:cNvPr id="12" name="组合 11"/>
          <p:cNvGrpSpPr/>
          <p:nvPr/>
        </p:nvGrpSpPr>
        <p:grpSpPr>
          <a:xfrm>
            <a:off x="718890" y="4176191"/>
            <a:ext cx="6099951" cy="1085549"/>
            <a:chOff x="834250" y="3907936"/>
            <a:chExt cx="6099951" cy="1085549"/>
          </a:xfrm>
        </p:grpSpPr>
        <p:sp>
          <p:nvSpPr>
            <p:cNvPr id="13" name="文本框 12"/>
            <p:cNvSpPr txBox="1"/>
            <p:nvPr/>
          </p:nvSpPr>
          <p:spPr>
            <a:xfrm>
              <a:off x="1988413" y="3996039"/>
              <a:ext cx="4945788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  <a:buSzPct val="25000"/>
              </a:pPr>
              <a:r>
                <a:rPr lang="en-US" altLang="zh-CN" sz="1400" b="1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YouTube: </a:t>
              </a:r>
              <a:r>
                <a:rPr lang="en-US" altLang="zh-CN" sz="1400" i="1" dirty="0" err="1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Ruijie</a:t>
              </a:r>
              <a:r>
                <a:rPr lang="en-US" altLang="zh-CN" sz="1400" i="1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Technical Support</a:t>
              </a:r>
            </a:p>
          </p:txBody>
        </p:sp>
        <p:pic>
          <p:nvPicPr>
            <p:cNvPr id="14" name="图片 13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4250" y="3907936"/>
              <a:ext cx="1085549" cy="1085549"/>
            </a:xfrm>
            <a:prstGeom prst="rect">
              <a:avLst/>
            </a:prstGeom>
          </p:spPr>
        </p:pic>
        <p:sp>
          <p:nvSpPr>
            <p:cNvPr id="15" name="文本框 14"/>
            <p:cNvSpPr txBox="1"/>
            <p:nvPr/>
          </p:nvSpPr>
          <p:spPr>
            <a:xfrm>
              <a:off x="1988412" y="4365371"/>
              <a:ext cx="4945789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  <a:buSzPct val="25000"/>
              </a:pPr>
              <a:r>
                <a:rPr lang="en-US" altLang="zh-CN" sz="1400" u="sng" dirty="0">
                  <a:solidFill>
                    <a:srgbClr val="FF0000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hlinkClick r:id="rId3"/>
                </a:rPr>
                <a:t>https://www.youtube.com/c/RuijieTechnicalSupport</a:t>
              </a:r>
              <a:endParaRPr lang="en-US" altLang="zh-CN" sz="1400" u="sng" dirty="0">
                <a:solidFill>
                  <a:srgbClr val="FF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</p:grpSp>
      <p:pic>
        <p:nvPicPr>
          <p:cNvPr id="8" name="图片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7292" y="3116848"/>
            <a:ext cx="2643097" cy="1486742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7722" y="3104931"/>
            <a:ext cx="2520281" cy="1465115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7723" y="1525678"/>
            <a:ext cx="2520280" cy="147255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97292" y="1525678"/>
            <a:ext cx="2643097" cy="1474588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76734" y="402155"/>
            <a:ext cx="10727332" cy="605684"/>
          </a:xfrm>
        </p:spPr>
        <p:txBody>
          <a:bodyPr/>
          <a:lstStyle/>
          <a:p>
            <a:r>
              <a:rPr lang="en-US" altLang="zh-CN" dirty="0">
                <a:solidFill>
                  <a:schemeClr val="tx1"/>
                </a:solidFill>
                <a:latin typeface="Noto Sans Black" panose="020B0A02040504020204"/>
              </a:rPr>
              <a:t>Onsite Support: </a:t>
            </a:r>
            <a:r>
              <a:rPr lang="en-US" altLang="zh-CN" dirty="0">
                <a:latin typeface="Noto Sans Black" panose="020B0A02040504020204"/>
              </a:rPr>
              <a:t>Authorized Service Partner </a:t>
            </a:r>
          </a:p>
        </p:txBody>
      </p:sp>
      <p:sp>
        <p:nvSpPr>
          <p:cNvPr id="9" name="内容占位符 2"/>
          <p:cNvSpPr txBox="1"/>
          <p:nvPr/>
        </p:nvSpPr>
        <p:spPr>
          <a:xfrm>
            <a:off x="576000" y="1080215"/>
            <a:ext cx="10728066" cy="429947"/>
          </a:xfrm>
          <a:prstGeom prst="rect">
            <a:avLst/>
          </a:prstGeom>
        </p:spPr>
        <p:txBody>
          <a:bodyPr/>
          <a:lstStyle>
            <a:lvl1pPr marL="0" indent="0" algn="l" defTabSz="863600" rtl="0" eaLnBrk="1" latinLnBrk="0" hangingPunct="1">
              <a:lnSpc>
                <a:spcPct val="120000"/>
              </a:lnSpc>
              <a:spcBef>
                <a:spcPts val="945"/>
              </a:spcBef>
              <a:buFont typeface="Arial" panose="020B0604020202020204" pitchFamily="34" charset="0"/>
              <a:buNone/>
              <a:defRPr sz="1200" kern="1200">
                <a:solidFill>
                  <a:srgbClr val="50555A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431800" indent="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None/>
              <a:defRPr sz="2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1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19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437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8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86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04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22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 err="1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uijie</a:t>
            </a:r>
            <a:r>
              <a:rPr lang="en-US" altLang="zh-CN" sz="18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has </a:t>
            </a:r>
            <a:r>
              <a:rPr lang="en-US" altLang="zh-CN" sz="18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world-wide</a:t>
            </a:r>
            <a:r>
              <a:rPr lang="en-US" altLang="zh-CN" sz="18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authorized service partners for </a:t>
            </a:r>
            <a:r>
              <a:rPr lang="en-US" altLang="zh-CN" sz="18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local technical support </a:t>
            </a:r>
            <a:r>
              <a:rPr lang="en-US" altLang="zh-CN" sz="18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to improve service coverage.</a:t>
            </a:r>
          </a:p>
        </p:txBody>
      </p:sp>
      <p:sp>
        <p:nvSpPr>
          <p:cNvPr id="6" name="文本框 5">
            <a:hlinkClick r:id="rId2"/>
          </p:cNvPr>
          <p:cNvSpPr txBox="1"/>
          <p:nvPr/>
        </p:nvSpPr>
        <p:spPr>
          <a:xfrm>
            <a:off x="660081" y="5779141"/>
            <a:ext cx="105599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SzPct val="25000"/>
            </a:pPr>
            <a:r>
              <a:rPr lang="en-US" altLang="zh-CN" sz="1200" u="sng" dirty="0">
                <a:solidFill>
                  <a:srgbClr val="FF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hlinkClick r:id="rId3"/>
              </a:rPr>
              <a:t>https://www.ruijienetworks.com/partner/locator </a:t>
            </a:r>
            <a:endParaRPr lang="en-US" altLang="zh-CN" sz="1200" u="sng" dirty="0">
              <a:solidFill>
                <a:srgbClr val="FF0000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grpSp>
        <p:nvGrpSpPr>
          <p:cNvPr id="10" name="组合 9"/>
          <p:cNvGrpSpPr/>
          <p:nvPr/>
        </p:nvGrpSpPr>
        <p:grpSpPr>
          <a:xfrm>
            <a:off x="2591098" y="1755074"/>
            <a:ext cx="6496208" cy="4024067"/>
            <a:chOff x="660080" y="1325399"/>
            <a:chExt cx="6496208" cy="4024067"/>
          </a:xfrm>
        </p:grpSpPr>
        <p:pic>
          <p:nvPicPr>
            <p:cNvPr id="3" name="图片 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992587" y="3097092"/>
              <a:ext cx="2163701" cy="2240156"/>
            </a:xfrm>
            <a:prstGeom prst="rect">
              <a:avLst/>
            </a:prstGeom>
          </p:spPr>
        </p:pic>
        <p:pic>
          <p:nvPicPr>
            <p:cNvPr id="2" name="图片 1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60081" y="3099365"/>
              <a:ext cx="4307281" cy="2250101"/>
            </a:xfrm>
            <a:prstGeom prst="rect">
              <a:avLst/>
            </a:prstGeom>
          </p:spPr>
        </p:pic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60080" y="1325399"/>
              <a:ext cx="6496207" cy="1771693"/>
            </a:xfrm>
            <a:prstGeom prst="rect">
              <a:avLst/>
            </a:prstGeom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354192" y="287759"/>
            <a:ext cx="11164707" cy="605684"/>
          </a:xfrm>
        </p:spPr>
        <p:txBody>
          <a:bodyPr/>
          <a:lstStyle/>
          <a:p>
            <a:r>
              <a:rPr lang="en-US" altLang="zh-CN" dirty="0">
                <a:solidFill>
                  <a:schemeClr val="tx1"/>
                </a:solidFill>
                <a:latin typeface="Noto Sans Black" panose="020B0A02040504020204"/>
              </a:rPr>
              <a:t>Onsite Service: </a:t>
            </a:r>
            <a:r>
              <a:rPr lang="en-US" altLang="zh-CN" sz="2500" dirty="0">
                <a:latin typeface="Noto Sans Black" panose="020B0A02040504020204"/>
              </a:rPr>
              <a:t>Spare Parts Service Network Around the World</a:t>
            </a:r>
          </a:p>
        </p:txBody>
      </p:sp>
      <p:sp>
        <p:nvSpPr>
          <p:cNvPr id="9" name="内容占位符 2"/>
          <p:cNvSpPr txBox="1"/>
          <p:nvPr/>
        </p:nvSpPr>
        <p:spPr>
          <a:xfrm>
            <a:off x="576000" y="1080215"/>
            <a:ext cx="10728066" cy="429947"/>
          </a:xfrm>
          <a:prstGeom prst="rect">
            <a:avLst/>
          </a:prstGeom>
        </p:spPr>
        <p:txBody>
          <a:bodyPr/>
          <a:lstStyle>
            <a:lvl1pPr marL="0" indent="0" algn="l" defTabSz="863600" rtl="0" eaLnBrk="1" latinLnBrk="0" hangingPunct="1">
              <a:lnSpc>
                <a:spcPct val="120000"/>
              </a:lnSpc>
              <a:spcBef>
                <a:spcPts val="945"/>
              </a:spcBef>
              <a:buFont typeface="Arial" panose="020B0604020202020204" pitchFamily="34" charset="0"/>
              <a:buNone/>
              <a:defRPr sz="1200" kern="1200">
                <a:solidFill>
                  <a:srgbClr val="50555A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431800" indent="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None/>
              <a:defRPr sz="2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1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19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437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8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86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04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22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pare parts warehouses have been built in </a:t>
            </a:r>
            <a:r>
              <a:rPr lang="en-US" altLang="zh-CN" sz="18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20</a:t>
            </a:r>
            <a:r>
              <a:rPr lang="en-US" altLang="zh-CN" sz="18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countries or regions, providing spare parts services for </a:t>
            </a:r>
            <a:r>
              <a:rPr lang="en-US" altLang="zh-CN" sz="18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more than 65 surrounding cities </a:t>
            </a:r>
            <a:r>
              <a:rPr lang="en-US" altLang="zh-CN" sz="18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nd meet the customer's needs of </a:t>
            </a:r>
            <a:r>
              <a:rPr lang="en-US" altLang="zh-CN" sz="18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4H, ND, NBD and other service SLA </a:t>
            </a:r>
            <a:r>
              <a:rPr lang="en-US" altLang="zh-CN" sz="18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based on the actual situation.</a:t>
            </a:r>
          </a:p>
        </p:txBody>
      </p:sp>
      <p:pic>
        <p:nvPicPr>
          <p:cNvPr id="2" name="图片 1" descr="upload_post_object_v2_10680164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901" y="2206173"/>
            <a:ext cx="8028130" cy="3433535"/>
          </a:xfrm>
          <a:prstGeom prst="rect">
            <a:avLst/>
          </a:prstGeom>
        </p:spPr>
      </p:pic>
      <p:grpSp>
        <p:nvGrpSpPr>
          <p:cNvPr id="7" name="组合 6"/>
          <p:cNvGrpSpPr/>
          <p:nvPr/>
        </p:nvGrpSpPr>
        <p:grpSpPr>
          <a:xfrm>
            <a:off x="8941843" y="5043092"/>
            <a:ext cx="2380702" cy="576569"/>
            <a:chOff x="9067379" y="4397731"/>
            <a:chExt cx="2380702" cy="576569"/>
          </a:xfrm>
        </p:grpSpPr>
        <p:sp>
          <p:nvSpPr>
            <p:cNvPr id="5" name="文本框 4"/>
            <p:cNvSpPr txBox="1"/>
            <p:nvPr/>
          </p:nvSpPr>
          <p:spPr>
            <a:xfrm>
              <a:off x="9211394" y="4397731"/>
              <a:ext cx="223668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Spare </a:t>
              </a:r>
              <a:r>
                <a:rPr lang="en-US" altLang="zh-CN" sz="1000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parts warehouse</a:t>
              </a:r>
              <a:r>
                <a:rPr lang="zh-CN" altLang="en-US" sz="1000" dirty="0">
                  <a:latin typeface="Noto Sans" panose="020B0502040504020204" pitchFamily="34" charset="0"/>
                  <a:cs typeface="Noto Sans" panose="020B0502040504020204" pitchFamily="34" charset="0"/>
                </a:rPr>
                <a:t> </a:t>
              </a:r>
              <a:r>
                <a:rPr lang="en-US" altLang="zh-CN" sz="1000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(22)</a:t>
              </a:r>
              <a:endParaRPr lang="en-US" sz="10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6" name="椭圆 5"/>
            <p:cNvSpPr/>
            <p:nvPr/>
          </p:nvSpPr>
          <p:spPr>
            <a:xfrm>
              <a:off x="9071818" y="4464223"/>
              <a:ext cx="144016" cy="144016"/>
            </a:xfrm>
            <a:prstGeom prst="ellipse">
              <a:avLst/>
            </a:prstGeom>
            <a:solidFill>
              <a:srgbClr val="E54F00"/>
            </a:solidFill>
            <a:ln>
              <a:noFill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8" name="椭圆 7"/>
            <p:cNvSpPr/>
            <p:nvPr/>
          </p:nvSpPr>
          <p:spPr>
            <a:xfrm>
              <a:off x="9067379" y="4786876"/>
              <a:ext cx="144016" cy="144016"/>
            </a:xfrm>
            <a:prstGeom prst="ellipse">
              <a:avLst/>
            </a:prstGeom>
            <a:solidFill>
              <a:srgbClr val="0288D1"/>
            </a:solidFill>
            <a:ln>
              <a:noFill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10" name="文本框 9"/>
            <p:cNvSpPr txBox="1"/>
            <p:nvPr/>
          </p:nvSpPr>
          <p:spPr>
            <a:xfrm>
              <a:off x="9211394" y="4728079"/>
              <a:ext cx="223668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000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Central spare parts warehouse (1)</a:t>
              </a:r>
              <a:endParaRPr lang="en-US" sz="10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9"/>
          <p:cNvSpPr>
            <a:spLocks noGrp="1"/>
          </p:cNvSpPr>
          <p:nvPr>
            <p:ph type="ctrTitle"/>
          </p:nvPr>
        </p:nvSpPr>
        <p:spPr>
          <a:xfrm>
            <a:off x="394335" y="2736031"/>
            <a:ext cx="9541579" cy="825500"/>
          </a:xfrm>
        </p:spPr>
        <p:txBody>
          <a:bodyPr/>
          <a:lstStyle/>
          <a:p>
            <a:r>
              <a:rPr lang="en-US" altLang="zh-CN" sz="4000" b="1" dirty="0">
                <a:latin typeface="Noto Sans Medium" panose="020B0602040504020204" pitchFamily="34" charset="0"/>
                <a:ea typeface="Noto Sans Medium" panose="020B0602040504020204" pitchFamily="34" charset="0"/>
                <a:cs typeface="Noto Sans Medium" panose="020B0602040504020204" pitchFamily="34" charset="0"/>
              </a:rPr>
              <a:t>Training &amp; Certific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76734" y="402155"/>
            <a:ext cx="10942166" cy="605684"/>
          </a:xfrm>
        </p:spPr>
        <p:txBody>
          <a:bodyPr/>
          <a:lstStyle/>
          <a:p>
            <a:r>
              <a:rPr lang="en-US" altLang="zh-CN" dirty="0">
                <a:latin typeface="Noto Sans Black" panose="020B0A02040504020204"/>
              </a:rPr>
              <a:t>Certification for Post-Sales Engineers</a:t>
            </a:r>
          </a:p>
        </p:txBody>
      </p:sp>
      <p:graphicFrame>
        <p:nvGraphicFramePr>
          <p:cNvPr id="53" name="表格 52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7027907"/>
              </p:ext>
            </p:extLst>
          </p:nvPr>
        </p:nvGraphicFramePr>
        <p:xfrm>
          <a:off x="465556" y="4096206"/>
          <a:ext cx="10692765" cy="21164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5080"/>
                <a:gridCol w="1411605"/>
                <a:gridCol w="1535430"/>
                <a:gridCol w="1043305"/>
                <a:gridCol w="1348740"/>
                <a:gridCol w="1118870"/>
                <a:gridCol w="1325880"/>
                <a:gridCol w="1633855"/>
              </a:tblGrid>
              <a:tr h="279400"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altLang="zh-CN" sz="1040" dirty="0">
                          <a:ln>
                            <a:noFill/>
                          </a:ln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Certifications</a:t>
                      </a:r>
                    </a:p>
                  </a:txBody>
                  <a:tcPr marL="86391" marR="86391" marT="43195" marB="4319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altLang="zh-CN" sz="1040" dirty="0">
                          <a:ln>
                            <a:noFill/>
                          </a:ln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RCNA</a:t>
                      </a:r>
                      <a:endParaRPr lang="zh-CN" altLang="en-US" sz="1040" dirty="0">
                        <a:ln>
                          <a:noFill/>
                        </a:ln>
                        <a:latin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1" marR="86391" marT="43195" marB="4319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altLang="zh-CN" sz="1040" dirty="0" smtClean="0">
                          <a:ln>
                            <a:noFill/>
                          </a:ln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RCNP</a:t>
                      </a:r>
                      <a:endParaRPr lang="zh-CN" altLang="en-US" sz="1040" dirty="0">
                        <a:ln>
                          <a:noFill/>
                        </a:ln>
                        <a:latin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1" marR="86391" marT="43195" marB="4319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altLang="zh-CN" sz="1135" dirty="0">
                          <a:ln>
                            <a:noFill/>
                          </a:ln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RSE-Technical</a:t>
                      </a:r>
                      <a:endParaRPr lang="zh-CN" altLang="en-US" sz="1135" dirty="0">
                        <a:ln>
                          <a:noFill/>
                        </a:ln>
                        <a:latin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1" marR="86391" marT="43195" marB="4319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solidFill>
                      <a:srgbClr val="00B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863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35" dirty="0" smtClean="0">
                          <a:ln>
                            <a:noFill/>
                          </a:ln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RCI-Instructor</a:t>
                      </a:r>
                      <a:endParaRPr lang="zh-CN" altLang="en-US" sz="1135" dirty="0">
                        <a:ln>
                          <a:noFill/>
                        </a:ln>
                        <a:latin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1" marR="86391" marT="43195" marB="4319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solidFill>
                      <a:srgbClr val="00B050"/>
                    </a:solidFill>
                  </a:tcPr>
                </a:tc>
              </a:tr>
              <a:tr h="263525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863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45" kern="120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Junior Ability</a:t>
                      </a:r>
                      <a:endParaRPr lang="en-US" altLang="zh-CN" sz="945" kern="1200" dirty="0">
                        <a:ln>
                          <a:noFill/>
                        </a:ln>
                        <a:solidFill>
                          <a:srgbClr val="FFFFFF"/>
                        </a:solidFill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1" marR="86391" marT="43195" marB="4319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63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45" kern="120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Intermediate Ability</a:t>
                      </a:r>
                      <a:endParaRPr lang="en-US" altLang="zh-CN" sz="945" kern="1200" dirty="0">
                        <a:ln>
                          <a:noFill/>
                        </a:ln>
                        <a:solidFill>
                          <a:srgbClr val="FFFFFF"/>
                        </a:solidFill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1" marR="86391" marT="43195" marB="4319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63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45" kern="120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Senior Ability</a:t>
                      </a:r>
                      <a:endParaRPr lang="en-US" altLang="zh-CN" sz="945" kern="1200" dirty="0">
                        <a:ln>
                          <a:noFill/>
                        </a:ln>
                        <a:solidFill>
                          <a:srgbClr val="FFFFFF"/>
                        </a:solidFill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1" marR="86391" marT="43195" marB="4319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altLang="zh-CN" sz="945" kern="120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RCI-</a:t>
                      </a:r>
                      <a:r>
                        <a:rPr lang="en-US" altLang="zh-CN" sz="945" kern="1200" dirty="0" err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Reyee</a:t>
                      </a:r>
                      <a:endParaRPr lang="zh-CN" altLang="en-US" sz="945" kern="1200" dirty="0">
                        <a:ln>
                          <a:noFill/>
                        </a:ln>
                        <a:solidFill>
                          <a:srgbClr val="FFFFFF"/>
                        </a:solidFill>
                        <a:latin typeface="Noto Sans" panose="020B0502040504020204" pitchFamily="34" charset="0"/>
                        <a:ea typeface="+mn-ea"/>
                        <a:cs typeface="Noto Sans" panose="020B0502040504020204" pitchFamily="34" charset="0"/>
                      </a:endParaRPr>
                    </a:p>
                  </a:txBody>
                  <a:tcPr marL="86391" marR="86391" marT="43195" marB="4319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63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45" kern="120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RCI-Enterprise</a:t>
                      </a:r>
                      <a:endParaRPr lang="en-US" altLang="zh-CN" sz="945" kern="1200" dirty="0">
                        <a:ln>
                          <a:noFill/>
                        </a:ln>
                        <a:solidFill>
                          <a:srgbClr val="FFFFFF"/>
                        </a:solidFill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1" marR="86391" marT="43195" marB="43195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</a:tr>
              <a:tr h="37592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altLang="zh-CN" sz="945" b="1" dirty="0">
                          <a:ln>
                            <a:noFill/>
                          </a:ln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Target Partner</a:t>
                      </a:r>
                    </a:p>
                  </a:txBody>
                  <a:tcPr marL="86391" marR="86391" marT="43195" marB="43195" anchor="ctr">
                    <a:lnL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8636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altLang="zh-CN" sz="945" kern="120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All </a:t>
                      </a:r>
                      <a:r>
                        <a:rPr lang="en-US" altLang="zh-CN" sz="945" kern="1200" dirty="0" err="1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Ruijie</a:t>
                      </a:r>
                      <a:r>
                        <a:rPr lang="en-US" altLang="zh-CN" sz="945" kern="120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 Partners</a:t>
                      </a:r>
                      <a:endParaRPr lang="zh-CN" altLang="en-US" sz="945" kern="1200" dirty="0">
                        <a:ln>
                          <a:noFill/>
                        </a:ln>
                        <a:solidFill>
                          <a:schemeClr val="dk1"/>
                        </a:solidFill>
                        <a:latin typeface="Noto Sans" panose="020B0502040504020204" pitchFamily="34" charset="0"/>
                        <a:ea typeface="+mn-ea"/>
                        <a:cs typeface="Noto Sans" panose="020B0502040504020204" pitchFamily="34" charset="0"/>
                      </a:endParaRPr>
                    </a:p>
                  </a:txBody>
                  <a:tcPr marL="81622" marR="81622" marT="40811" marB="40811" anchor="ctr">
                    <a:lnL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63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45" kern="120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All </a:t>
                      </a:r>
                      <a:r>
                        <a:rPr lang="en-US" altLang="zh-CN" sz="945" kern="1200" dirty="0" err="1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Ruijie</a:t>
                      </a:r>
                      <a:r>
                        <a:rPr lang="en-US" altLang="zh-CN" sz="945" kern="120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 Partners</a:t>
                      </a:r>
                      <a:endParaRPr lang="zh-CN" altLang="en-US" sz="945" kern="1200" dirty="0" smtClean="0">
                        <a:ln>
                          <a:noFill/>
                        </a:ln>
                        <a:solidFill>
                          <a:schemeClr val="dk1"/>
                        </a:solidFill>
                        <a:latin typeface="Noto Sans" panose="020B0502040504020204" pitchFamily="34" charset="0"/>
                        <a:ea typeface="+mn-ea"/>
                        <a:cs typeface="Noto Sans" panose="020B0502040504020204" pitchFamily="34" charset="0"/>
                      </a:endParaRPr>
                    </a:p>
                  </a:txBody>
                  <a:tcPr marL="81622" marR="81622" marT="40811" marB="40811" anchor="ctr">
                    <a:lnL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63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45" kern="120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Register Partner</a:t>
                      </a:r>
                    </a:p>
                  </a:txBody>
                  <a:tcPr marL="86391" marR="86391" marT="43195" marB="43195" anchor="ctr">
                    <a:lnL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63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45" kern="120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ASP/ Silver</a:t>
                      </a:r>
                    </a:p>
                  </a:txBody>
                  <a:tcPr marL="86391" marR="86391" marT="43195" marB="43195" anchor="ctr">
                    <a:lnL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63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45" dirty="0" smtClean="0">
                          <a:ln>
                            <a:noFill/>
                          </a:ln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+mn-ea"/>
                        </a:rPr>
                        <a:t>ASP/ Gold</a:t>
                      </a:r>
                      <a:endParaRPr lang="zh-CN" altLang="en-US" sz="945" kern="1200" dirty="0" smtClean="0">
                        <a:ln>
                          <a:noFill/>
                        </a:ln>
                        <a:solidFill>
                          <a:schemeClr val="dk1"/>
                        </a:solidFill>
                        <a:latin typeface="Noto Sans" panose="020B0502040504020204" pitchFamily="34" charset="0"/>
                        <a:ea typeface="+mn-ea"/>
                        <a:cs typeface="Noto Sans" panose="020B0502040504020204" pitchFamily="34" charset="0"/>
                      </a:endParaRPr>
                    </a:p>
                  </a:txBody>
                  <a:tcPr marL="86391" marR="86391" marT="43195" marB="43195" anchor="ctr">
                    <a:lnL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63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45" kern="1200" dirty="0" err="1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Reyee</a:t>
                      </a:r>
                      <a:r>
                        <a:rPr lang="en-US" altLang="zh-CN" sz="945" kern="120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 </a:t>
                      </a:r>
                      <a:r>
                        <a:rPr lang="en-US" altLang="zh-CN" sz="945" kern="120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VAD </a:t>
                      </a:r>
                      <a:endParaRPr lang="zh-CN" altLang="en-US" sz="945" kern="1200" dirty="0">
                        <a:ln>
                          <a:noFill/>
                        </a:ln>
                        <a:solidFill>
                          <a:schemeClr val="dk1"/>
                        </a:solidFill>
                        <a:latin typeface="Noto Sans" panose="020B0502040504020204" pitchFamily="34" charset="0"/>
                        <a:ea typeface="+mn-ea"/>
                        <a:cs typeface="Noto Sans" panose="020B0502040504020204" pitchFamily="34" charset="0"/>
                      </a:endParaRPr>
                    </a:p>
                  </a:txBody>
                  <a:tcPr marL="86391" marR="86391" marT="43195" marB="43195" anchor="ctr">
                    <a:lnL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63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45" kern="120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Ruijie VAD </a:t>
                      </a:r>
                      <a:endParaRPr lang="zh-CN" altLang="en-US" sz="945" kern="1200" dirty="0">
                        <a:ln>
                          <a:noFill/>
                        </a:ln>
                        <a:solidFill>
                          <a:schemeClr val="dk1"/>
                        </a:solidFill>
                        <a:latin typeface="Noto Sans" panose="020B0502040504020204" pitchFamily="34" charset="0"/>
                        <a:ea typeface="+mn-ea"/>
                        <a:cs typeface="Noto Sans" panose="020B0502040504020204" pitchFamily="34" charset="0"/>
                      </a:endParaRPr>
                    </a:p>
                  </a:txBody>
                  <a:tcPr marL="86391" marR="86391" marT="43195" marB="43195" anchor="ctr">
                    <a:lnL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03860">
                <a:tc>
                  <a:txBody>
                    <a:bodyPr/>
                    <a:lstStyle/>
                    <a:p>
                      <a:pPr marL="0" algn="ctr" defTabSz="8636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altLang="zh-CN" sz="945" b="1" kern="120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Training Form</a:t>
                      </a:r>
                      <a:endParaRPr lang="zh-CN" altLang="en-US" sz="945" b="1" kern="1200" dirty="0">
                        <a:ln>
                          <a:noFill/>
                        </a:ln>
                        <a:solidFill>
                          <a:schemeClr val="dk1"/>
                        </a:solidFill>
                        <a:latin typeface="Noto Sans" panose="020B0502040504020204" pitchFamily="34" charset="0"/>
                        <a:ea typeface="+mn-ea"/>
                        <a:cs typeface="Noto Sans" panose="020B0502040504020204" pitchFamily="34" charset="0"/>
                      </a:endParaRPr>
                    </a:p>
                  </a:txBody>
                  <a:tcPr marL="81622" marR="81622" marT="40811" marB="40811" anchor="ctr">
                    <a:lnL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8636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altLang="zh-CN" sz="945" kern="120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Online</a:t>
                      </a:r>
                    </a:p>
                    <a:p>
                      <a:pPr marL="0" algn="ctr" defTabSz="8636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altLang="zh-CN" sz="945" kern="120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(E-learning/YouTube)</a:t>
                      </a:r>
                      <a:endParaRPr lang="zh-CN" altLang="en-US" sz="945" kern="1200" dirty="0">
                        <a:ln>
                          <a:noFill/>
                        </a:ln>
                        <a:solidFill>
                          <a:schemeClr val="dk1"/>
                        </a:solidFill>
                        <a:latin typeface="Noto Sans" panose="020B0502040504020204" pitchFamily="34" charset="0"/>
                        <a:ea typeface="+mn-ea"/>
                        <a:cs typeface="Noto Sans" panose="020B0502040504020204" pitchFamily="34" charset="0"/>
                      </a:endParaRPr>
                    </a:p>
                  </a:txBody>
                  <a:tcPr marL="81622" marR="81622" marT="40811" marB="40811" anchor="ctr">
                    <a:lnL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63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45" kern="120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Online</a:t>
                      </a:r>
                    </a:p>
                    <a:p>
                      <a:pPr marL="0" marR="0" indent="0" algn="ctr" defTabSz="863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45" kern="120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(E-learning/YouTube)</a:t>
                      </a:r>
                      <a:endParaRPr lang="zh-CN" altLang="en-US" sz="945" kern="1200" dirty="0" smtClean="0">
                        <a:ln>
                          <a:noFill/>
                        </a:ln>
                        <a:solidFill>
                          <a:schemeClr val="dk1"/>
                        </a:solidFill>
                        <a:latin typeface="Noto Sans" panose="020B0502040504020204" pitchFamily="34" charset="0"/>
                        <a:ea typeface="+mn-ea"/>
                        <a:cs typeface="Noto Sans" panose="020B0502040504020204" pitchFamily="34" charset="0"/>
                      </a:endParaRPr>
                    </a:p>
                  </a:txBody>
                  <a:tcPr marL="81622" marR="81622" marT="40811" marB="40811" anchor="ctr">
                    <a:lnL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863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45" kern="120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On-site/Online</a:t>
                      </a:r>
                    </a:p>
                    <a:p>
                      <a:pPr marL="0" marR="0" indent="0" algn="ctr" defTabSz="863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45" kern="120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(E-learning)</a:t>
                      </a:r>
                      <a:endParaRPr lang="zh-CN" altLang="en-US" sz="945" kern="1200" dirty="0">
                        <a:ln>
                          <a:noFill/>
                        </a:ln>
                        <a:solidFill>
                          <a:schemeClr val="dk1"/>
                        </a:solidFill>
                        <a:latin typeface="Noto Sans" panose="020B0502040504020204" pitchFamily="34" charset="0"/>
                        <a:ea typeface="+mn-ea"/>
                        <a:cs typeface="Noto Sans" panose="020B0502040504020204" pitchFamily="34" charset="0"/>
                      </a:endParaRPr>
                    </a:p>
                  </a:txBody>
                  <a:tcPr marL="86391" marR="86391" marT="43195" marB="43195" anchor="ctr">
                    <a:lnL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>
                    <a:lnL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863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45" kern="120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Online</a:t>
                      </a:r>
                    </a:p>
                    <a:p>
                      <a:pPr marL="0" marR="0" indent="0" algn="ctr" defTabSz="863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45" kern="120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(E-learning)</a:t>
                      </a:r>
                      <a:endParaRPr lang="zh-CN" altLang="en-US" sz="945" kern="1200" dirty="0" smtClean="0">
                        <a:ln>
                          <a:noFill/>
                        </a:ln>
                        <a:solidFill>
                          <a:schemeClr val="dk1"/>
                        </a:solidFill>
                        <a:latin typeface="Noto Sans" panose="020B0502040504020204" pitchFamily="34" charset="0"/>
                        <a:ea typeface="+mn-ea"/>
                        <a:cs typeface="Noto Sans" panose="020B0502040504020204" pitchFamily="34" charset="0"/>
                      </a:endParaRPr>
                    </a:p>
                  </a:txBody>
                  <a:tcPr marL="86391" marR="86391" marT="43195" marB="43195" anchor="ctr">
                    <a:lnL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63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45" kern="120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Online</a:t>
                      </a:r>
                    </a:p>
                    <a:p>
                      <a:pPr marL="0" marR="0" indent="0" algn="ctr" defTabSz="863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45" kern="120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(E-learning)</a:t>
                      </a:r>
                      <a:endParaRPr lang="zh-CN" altLang="en-US" sz="945" kern="1200" dirty="0" smtClean="0">
                        <a:ln>
                          <a:noFill/>
                        </a:ln>
                        <a:solidFill>
                          <a:schemeClr val="dk1"/>
                        </a:solidFill>
                        <a:latin typeface="Noto Sans" panose="020B0502040504020204" pitchFamily="34" charset="0"/>
                        <a:ea typeface="+mn-ea"/>
                        <a:cs typeface="Noto Sans" panose="020B0502040504020204" pitchFamily="34" charset="0"/>
                      </a:endParaRPr>
                    </a:p>
                  </a:txBody>
                  <a:tcPr marL="86391" marR="86391" marT="43195" marB="43195" anchor="ctr">
                    <a:lnL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97180">
                <a:tc>
                  <a:txBody>
                    <a:bodyPr/>
                    <a:lstStyle/>
                    <a:p>
                      <a:pPr marL="0" algn="ctr" defTabSz="8636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altLang="zh-CN" sz="945" b="1" kern="120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Exam Form</a:t>
                      </a:r>
                      <a:endParaRPr lang="zh-CN" altLang="en-US" sz="945" b="1" kern="1200" dirty="0">
                        <a:ln>
                          <a:noFill/>
                        </a:ln>
                        <a:solidFill>
                          <a:schemeClr val="dk1"/>
                        </a:solidFill>
                        <a:latin typeface="Noto Sans" panose="020B0502040504020204" pitchFamily="34" charset="0"/>
                        <a:ea typeface="+mn-ea"/>
                        <a:cs typeface="Noto Sans" panose="020B0502040504020204" pitchFamily="34" charset="0"/>
                      </a:endParaRPr>
                    </a:p>
                  </a:txBody>
                  <a:tcPr marL="81622" marR="81622" marT="40811" marB="40811" anchor="ctr">
                    <a:lnL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8636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altLang="zh-CN" sz="945" kern="120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Online(E-learning)</a:t>
                      </a:r>
                      <a:endParaRPr lang="zh-CN" altLang="en-US" sz="945" kern="1200" dirty="0">
                        <a:ln>
                          <a:noFill/>
                        </a:ln>
                        <a:solidFill>
                          <a:schemeClr val="dk1"/>
                        </a:solidFill>
                        <a:latin typeface="Noto Sans" panose="020B0502040504020204" pitchFamily="34" charset="0"/>
                        <a:ea typeface="+mn-ea"/>
                        <a:cs typeface="Noto Sans" panose="020B0502040504020204" pitchFamily="34" charset="0"/>
                      </a:endParaRPr>
                    </a:p>
                  </a:txBody>
                  <a:tcPr marL="81622" marR="81622" marT="40811" marB="40811" anchor="ctr">
                    <a:lnL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63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45" kern="120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Offline(VUE, paid exam)</a:t>
                      </a:r>
                      <a:endParaRPr lang="zh-CN" altLang="en-US" sz="945" kern="1200" dirty="0" smtClean="0">
                        <a:ln>
                          <a:noFill/>
                        </a:ln>
                        <a:solidFill>
                          <a:schemeClr val="dk1"/>
                        </a:solidFill>
                        <a:latin typeface="Noto Sans" panose="020B0502040504020204" pitchFamily="34" charset="0"/>
                        <a:ea typeface="+mn-ea"/>
                        <a:cs typeface="Noto Sans" panose="020B0502040504020204" pitchFamily="34" charset="0"/>
                      </a:endParaRPr>
                    </a:p>
                  </a:txBody>
                  <a:tcPr marL="81622" marR="81622" marT="40811" marB="40811" anchor="ctr">
                    <a:lnL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863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45" kern="120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Multilingual online </a:t>
                      </a:r>
                      <a:r>
                        <a:rPr lang="en-US" altLang="zh-CN" sz="945" kern="120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exams</a:t>
                      </a:r>
                      <a:endParaRPr lang="zh-CN" altLang="en-US" sz="945" kern="1200" dirty="0">
                        <a:ln>
                          <a:noFill/>
                        </a:ln>
                        <a:solidFill>
                          <a:schemeClr val="dk1"/>
                        </a:solidFill>
                        <a:latin typeface="Noto Sans" panose="020B0502040504020204" pitchFamily="34" charset="0"/>
                        <a:ea typeface="+mn-ea"/>
                        <a:cs typeface="Noto Sans" panose="020B0502040504020204" pitchFamily="34" charset="0"/>
                      </a:endParaRPr>
                    </a:p>
                  </a:txBody>
                  <a:tcPr marL="86391" marR="86391" marT="43195" marB="43195" anchor="ctr">
                    <a:lnL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 anchor="ctr">
                    <a:lnL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863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45" kern="120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Technical certificate +TTT learning+ defense</a:t>
                      </a:r>
                      <a:endParaRPr lang="zh-CN" altLang="en-US" sz="945" kern="1200" dirty="0">
                        <a:ln>
                          <a:noFill/>
                        </a:ln>
                        <a:solidFill>
                          <a:schemeClr val="dk1"/>
                        </a:solidFill>
                        <a:latin typeface="Noto Sans" panose="020B0502040504020204" pitchFamily="34" charset="0"/>
                        <a:ea typeface="+mn-ea"/>
                        <a:cs typeface="Noto Sans" panose="020B0502040504020204" pitchFamily="34" charset="0"/>
                      </a:endParaRPr>
                    </a:p>
                  </a:txBody>
                  <a:tcPr marL="86391" marR="86391" marT="43195" marB="43195" anchor="ctr">
                    <a:lnL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</a:tr>
              <a:tr h="248285">
                <a:tc>
                  <a:txBody>
                    <a:bodyPr/>
                    <a:lstStyle/>
                    <a:p>
                      <a:pPr marL="0" algn="ctr" defTabSz="8636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altLang="zh-CN" sz="945" b="1" kern="120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Period of Validity</a:t>
                      </a:r>
                      <a:endParaRPr lang="zh-CN" altLang="en-US" sz="945" b="1" kern="1200" dirty="0">
                        <a:ln>
                          <a:noFill/>
                        </a:ln>
                        <a:solidFill>
                          <a:schemeClr val="dk1"/>
                        </a:solidFill>
                        <a:latin typeface="Noto Sans" panose="020B0502040504020204" pitchFamily="34" charset="0"/>
                        <a:ea typeface="+mn-ea"/>
                        <a:cs typeface="Noto Sans" panose="020B0502040504020204" pitchFamily="34" charset="0"/>
                      </a:endParaRPr>
                    </a:p>
                  </a:txBody>
                  <a:tcPr marL="81622" marR="81622" marT="40811" marB="40811" anchor="ctr">
                    <a:lnL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altLang="zh-CN" sz="945" kern="120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2 Years</a:t>
                      </a:r>
                      <a:endParaRPr lang="zh-CN" altLang="en-US" sz="945" kern="1200" dirty="0">
                        <a:ln>
                          <a:noFill/>
                        </a:ln>
                        <a:solidFill>
                          <a:schemeClr val="dk1"/>
                        </a:solidFill>
                        <a:latin typeface="Noto Sans" panose="020B0502040504020204" pitchFamily="34" charset="0"/>
                        <a:ea typeface="+mn-ea"/>
                        <a:cs typeface="Noto Sans" panose="020B0502040504020204" pitchFamily="34" charset="0"/>
                      </a:endParaRPr>
                    </a:p>
                  </a:txBody>
                  <a:tcPr marL="86391" marR="86391" marT="43195" marB="43195" anchor="ctr">
                    <a:lnL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45" kern="120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3</a:t>
                      </a:r>
                      <a:r>
                        <a:rPr lang="zh-CN" altLang="en-US" sz="945" kern="120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Noto Sans" panose="020B0502040504020204" pitchFamily="34" charset="0"/>
                          <a:ea typeface="+mn-ea"/>
                          <a:cs typeface="Noto Sans" panose="020B0502040504020204" pitchFamily="34" charset="0"/>
                        </a:rPr>
                        <a:t> </a:t>
                      </a:r>
                      <a:r>
                        <a:rPr lang="en-US" altLang="zh-CN" sz="945" kern="120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Years</a:t>
                      </a:r>
                      <a:endParaRPr lang="en-US" sz="945" kern="1200" dirty="0">
                        <a:ln>
                          <a:noFill/>
                        </a:ln>
                        <a:solidFill>
                          <a:schemeClr val="dk1"/>
                        </a:solidFill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1" marR="86391" marT="43195" marB="43195" anchor="ctr">
                    <a:lnL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US" sz="945" kern="120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2 Years</a:t>
                      </a:r>
                      <a:endParaRPr lang="en-US" sz="945" kern="1200" dirty="0">
                        <a:ln>
                          <a:noFill/>
                        </a:ln>
                        <a:solidFill>
                          <a:schemeClr val="dk1"/>
                        </a:solidFill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1" marR="86391" marT="43195" marB="43195" anchor="ctr">
                    <a:lnL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</a:tr>
              <a:tr h="248285">
                <a:tc>
                  <a:txBody>
                    <a:bodyPr/>
                    <a:lstStyle/>
                    <a:p>
                      <a:pPr marL="0" algn="ctr" defTabSz="863600" rtl="0" eaLnBrk="1" latinLnBrk="0" hangingPunct="1">
                        <a:lnSpc>
                          <a:spcPct val="100000"/>
                        </a:lnSpc>
                      </a:pPr>
                      <a:r>
                        <a:rPr lang="en-US" altLang="zh-CN" sz="945" b="1" kern="120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Level Up</a:t>
                      </a:r>
                      <a:r>
                        <a:rPr lang="zh-CN" altLang="en-US" sz="945" b="1" kern="120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Noto Sans" panose="020B0502040504020204" pitchFamily="34" charset="0"/>
                          <a:ea typeface="+mn-ea"/>
                          <a:cs typeface="Noto Sans" panose="020B0502040504020204" pitchFamily="34" charset="0"/>
                        </a:rPr>
                        <a:t> </a:t>
                      </a:r>
                      <a:r>
                        <a:rPr lang="en-US" altLang="zh-CN" sz="945" b="1" kern="120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Rules</a:t>
                      </a:r>
                      <a:endParaRPr lang="zh-CN" altLang="en-US" sz="945" b="1" kern="1200" dirty="0">
                        <a:ln>
                          <a:noFill/>
                        </a:ln>
                        <a:solidFill>
                          <a:schemeClr val="dk1"/>
                        </a:solidFill>
                        <a:latin typeface="Noto Sans" panose="020B0502040504020204" pitchFamily="34" charset="0"/>
                        <a:ea typeface="+mn-ea"/>
                        <a:cs typeface="Noto Sans" panose="020B0502040504020204" pitchFamily="34" charset="0"/>
                      </a:endParaRPr>
                    </a:p>
                  </a:txBody>
                  <a:tcPr marL="81622" marR="81622" marT="40811" marB="40811" anchor="ctr">
                    <a:lnL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0" marR="0" indent="0" algn="ctr" defTabSz="863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945" dirty="0">
                          <a:ln>
                            <a:noFill/>
                          </a:ln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No</a:t>
                      </a:r>
                      <a:r>
                        <a:rPr lang="zh-CN" altLang="en-US" sz="945" dirty="0">
                          <a:ln>
                            <a:noFill/>
                          </a:ln>
                          <a:latin typeface="Noto Sans" panose="020B0502040504020204" pitchFamily="34" charset="0"/>
                          <a:cs typeface="Noto Sans" panose="020B0502040504020204" pitchFamily="34" charset="0"/>
                        </a:rPr>
                        <a:t> </a:t>
                      </a:r>
                      <a:r>
                        <a:rPr lang="en-US" altLang="zh-CN" sz="945" dirty="0">
                          <a:ln>
                            <a:noFill/>
                          </a:ln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skipping</a:t>
                      </a:r>
                      <a:r>
                        <a:rPr lang="zh-CN" altLang="en-US" sz="945" dirty="0">
                          <a:ln>
                            <a:noFill/>
                          </a:ln>
                          <a:latin typeface="Noto Sans" panose="020B0502040504020204" pitchFamily="34" charset="0"/>
                          <a:cs typeface="Noto Sans" panose="020B0502040504020204" pitchFamily="34" charset="0"/>
                        </a:rPr>
                        <a:t> </a:t>
                      </a:r>
                      <a:r>
                        <a:rPr lang="en-US" altLang="zh-CN" sz="945" dirty="0">
                          <a:ln>
                            <a:noFill/>
                          </a:ln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allowed</a:t>
                      </a:r>
                      <a:endParaRPr lang="zh-CN" altLang="en-US" sz="945" dirty="0">
                        <a:ln>
                          <a:noFill/>
                        </a:ln>
                        <a:latin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1" marR="86391" marT="43195" marB="43195" anchor="ctr">
                    <a:lnL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E586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</a:tr>
            </a:tbl>
          </a:graphicData>
        </a:graphic>
      </p:graphicFrame>
      <p:grpSp>
        <p:nvGrpSpPr>
          <p:cNvPr id="54" name="组合 53"/>
          <p:cNvGrpSpPr/>
          <p:nvPr/>
        </p:nvGrpSpPr>
        <p:grpSpPr>
          <a:xfrm>
            <a:off x="4965854" y="892147"/>
            <a:ext cx="6229983" cy="3046088"/>
            <a:chOff x="3321426" y="1083310"/>
            <a:chExt cx="9141537" cy="4594159"/>
          </a:xfrm>
        </p:grpSpPr>
        <p:grpSp>
          <p:nvGrpSpPr>
            <p:cNvPr id="55" name="组合 54"/>
            <p:cNvGrpSpPr/>
            <p:nvPr/>
          </p:nvGrpSpPr>
          <p:grpSpPr>
            <a:xfrm>
              <a:off x="3321426" y="1083310"/>
              <a:ext cx="9141537" cy="4594159"/>
              <a:chOff x="1426247" y="1264145"/>
              <a:chExt cx="9064531" cy="4593854"/>
            </a:xfrm>
          </p:grpSpPr>
          <p:sp>
            <p:nvSpPr>
              <p:cNvPr id="60" name="矩形 59"/>
              <p:cNvSpPr/>
              <p:nvPr>
                <p:custDataLst>
                  <p:tags r:id="rId13"/>
                </p:custDataLst>
              </p:nvPr>
            </p:nvSpPr>
            <p:spPr>
              <a:xfrm>
                <a:off x="5086208" y="4298297"/>
                <a:ext cx="1542645" cy="46222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755" dirty="0">
                    <a:solidFill>
                      <a:schemeClr val="tx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RCNP-RS</a:t>
                </a:r>
                <a:endParaRPr lang="en-US" sz="755" dirty="0">
                  <a:solidFill>
                    <a:schemeClr val="tx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61" name="矩形 60"/>
              <p:cNvSpPr/>
              <p:nvPr>
                <p:custDataLst>
                  <p:tags r:id="rId14"/>
                </p:custDataLst>
              </p:nvPr>
            </p:nvSpPr>
            <p:spPr>
              <a:xfrm>
                <a:off x="2671757" y="4288762"/>
                <a:ext cx="2240479" cy="47175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ts val="900"/>
                  </a:lnSpc>
                </a:pPr>
                <a:r>
                  <a:rPr lang="en-US" altLang="zh-CN" sz="755" dirty="0">
                    <a:solidFill>
                      <a:schemeClr val="tx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RCNP</a:t>
                </a:r>
                <a:r>
                  <a:rPr lang="en-US" altLang="zh-CN" sz="755" b="1" dirty="0">
                    <a:solidFill>
                      <a:schemeClr val="tx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/>
                </a:r>
                <a:br>
                  <a:rPr lang="en-US" altLang="zh-CN" sz="755" b="1" dirty="0">
                    <a:solidFill>
                      <a:schemeClr val="tx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</a:br>
                <a:r>
                  <a:rPr lang="en-US" altLang="zh-CN" sz="615" dirty="0">
                    <a:solidFill>
                      <a:schemeClr val="tx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Ruijie Certified </a:t>
                </a:r>
                <a:r>
                  <a:rPr lang="en-US" altLang="zh-CN" sz="615" dirty="0" smtClean="0">
                    <a:solidFill>
                      <a:schemeClr val="tx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Network Professional</a:t>
                </a:r>
                <a:endParaRPr lang="en-US" altLang="zh-CN" sz="615" dirty="0">
                  <a:solidFill>
                    <a:schemeClr val="tx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grpSp>
            <p:nvGrpSpPr>
              <p:cNvPr id="62" name="组合 61"/>
              <p:cNvGrpSpPr/>
              <p:nvPr/>
            </p:nvGrpSpPr>
            <p:grpSpPr>
              <a:xfrm>
                <a:off x="1426247" y="1264145"/>
                <a:ext cx="8988329" cy="4593854"/>
                <a:chOff x="188404" y="1189798"/>
                <a:chExt cx="8988329" cy="4593854"/>
              </a:xfrm>
            </p:grpSpPr>
            <p:sp>
              <p:nvSpPr>
                <p:cNvPr id="85" name="等腰三角形 84"/>
                <p:cNvSpPr/>
                <p:nvPr>
                  <p:custDataLst>
                    <p:tags r:id="rId37"/>
                  </p:custDataLst>
                </p:nvPr>
              </p:nvSpPr>
              <p:spPr>
                <a:xfrm>
                  <a:off x="505269" y="1189798"/>
                  <a:ext cx="8671464" cy="611633"/>
                </a:xfrm>
                <a:prstGeom prst="triangle">
                  <a:avLst/>
                </a:prstGeom>
                <a:solidFill>
                  <a:srgbClr val="5F96C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altLang="zh-CN" sz="755" b="1" dirty="0">
                    <a:solidFill>
                      <a:srgbClr val="FFFFFF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endParaRPr>
                </a:p>
              </p:txBody>
            </p:sp>
            <p:sp>
              <p:nvSpPr>
                <p:cNvPr id="86" name="矩形 85"/>
                <p:cNvSpPr/>
                <p:nvPr>
                  <p:custDataLst>
                    <p:tags r:id="rId38"/>
                  </p:custDataLst>
                </p:nvPr>
              </p:nvSpPr>
              <p:spPr>
                <a:xfrm>
                  <a:off x="1448592" y="3710580"/>
                  <a:ext cx="2226637" cy="432405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755" dirty="0">
                      <a:solidFill>
                        <a:schemeClr val="tx1"/>
                      </a:solidFill>
                      <a:latin typeface="Noto Sans" panose="020B0502040504020204" pitchFamily="34" charset="0"/>
                      <a:ea typeface="Noto Sans" panose="020B0502040504020204" pitchFamily="34" charset="0"/>
                      <a:cs typeface="Noto Sans" panose="020B0502040504020204" pitchFamily="34" charset="0"/>
                    </a:rPr>
                    <a:t>RSE- </a:t>
                  </a:r>
                  <a:r>
                    <a:rPr lang="en-US" sz="755" dirty="0" smtClean="0">
                      <a:solidFill>
                        <a:schemeClr val="tx1"/>
                      </a:solidFill>
                      <a:latin typeface="Noto Sans" panose="020B0502040504020204" pitchFamily="34" charset="0"/>
                      <a:ea typeface="Noto Sans" panose="020B0502040504020204" pitchFamily="34" charset="0"/>
                      <a:cs typeface="Noto Sans" panose="020B0502040504020204" pitchFamily="34" charset="0"/>
                    </a:rPr>
                    <a:t>Enterprise P</a:t>
                  </a:r>
                  <a:r>
                    <a:rPr lang="en-US" altLang="zh-CN" sz="755" dirty="0" smtClean="0">
                      <a:solidFill>
                        <a:schemeClr val="tx1"/>
                      </a:solidFill>
                      <a:latin typeface="Noto Sans" panose="020B0502040504020204" pitchFamily="34" charset="0"/>
                      <a:ea typeface="Noto Sans" panose="020B0502040504020204" pitchFamily="34" charset="0"/>
                      <a:cs typeface="Noto Sans" panose="020B0502040504020204" pitchFamily="34" charset="0"/>
                    </a:rPr>
                    <a:t>roduct</a:t>
                  </a:r>
                  <a:endParaRPr lang="en-US" sz="755" dirty="0">
                    <a:solidFill>
                      <a:schemeClr val="tx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endParaRPr>
                </a:p>
              </p:txBody>
            </p:sp>
            <p:sp>
              <p:nvSpPr>
                <p:cNvPr id="87" name="矩形 86"/>
                <p:cNvSpPr/>
                <p:nvPr>
                  <p:custDataLst>
                    <p:tags r:id="rId39"/>
                  </p:custDataLst>
                </p:nvPr>
              </p:nvSpPr>
              <p:spPr>
                <a:xfrm>
                  <a:off x="3848365" y="3697881"/>
                  <a:ext cx="1542645" cy="438756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755" dirty="0" smtClean="0">
                    <a:solidFill>
                      <a:schemeClr val="tx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endParaRPr>
                </a:p>
                <a:p>
                  <a:pPr algn="ctr"/>
                  <a:r>
                    <a:rPr lang="en-US" sz="755" dirty="0" smtClean="0">
                      <a:solidFill>
                        <a:schemeClr val="tx1"/>
                      </a:solidFill>
                      <a:latin typeface="Noto Sans" panose="020B0502040504020204" pitchFamily="34" charset="0"/>
                      <a:ea typeface="Noto Sans" panose="020B0502040504020204" pitchFamily="34" charset="0"/>
                      <a:cs typeface="Noto Sans" panose="020B0502040504020204" pitchFamily="34" charset="0"/>
                    </a:rPr>
                    <a:t>RSE- </a:t>
                  </a:r>
                  <a:r>
                    <a:rPr lang="en-US" sz="755" dirty="0" err="1" smtClean="0">
                      <a:solidFill>
                        <a:schemeClr val="tx1"/>
                      </a:solidFill>
                      <a:latin typeface="Noto Sans" panose="020B0502040504020204" pitchFamily="34" charset="0"/>
                      <a:ea typeface="Noto Sans" panose="020B0502040504020204" pitchFamily="34" charset="0"/>
                      <a:cs typeface="Noto Sans" panose="020B0502040504020204" pitchFamily="34" charset="0"/>
                    </a:rPr>
                    <a:t>Reyee</a:t>
                  </a:r>
                  <a:r>
                    <a:rPr lang="en-US" sz="755" dirty="0" smtClean="0">
                      <a:solidFill>
                        <a:schemeClr val="tx1"/>
                      </a:solidFill>
                      <a:latin typeface="Noto Sans" panose="020B0502040504020204" pitchFamily="34" charset="0"/>
                      <a:ea typeface="Noto Sans" panose="020B0502040504020204" pitchFamily="34" charset="0"/>
                      <a:cs typeface="Noto Sans" panose="020B0502040504020204" pitchFamily="34" charset="0"/>
                    </a:rPr>
                    <a:t> </a:t>
                  </a:r>
                  <a:r>
                    <a:rPr lang="en-US" altLang="zh-CN" sz="755" dirty="0">
                      <a:solidFill>
                        <a:schemeClr val="tx1"/>
                      </a:solidFill>
                      <a:latin typeface="Noto Sans" panose="020B0502040504020204" pitchFamily="34" charset="0"/>
                      <a:ea typeface="Noto Sans" panose="020B0502040504020204" pitchFamily="34" charset="0"/>
                      <a:cs typeface="Noto Sans" panose="020B0502040504020204" pitchFamily="34" charset="0"/>
                    </a:rPr>
                    <a:t>Product</a:t>
                  </a:r>
                </a:p>
                <a:p>
                  <a:pPr algn="ctr"/>
                  <a:endParaRPr lang="en-US" sz="755" dirty="0">
                    <a:solidFill>
                      <a:schemeClr val="tx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endParaRPr>
                </a:p>
              </p:txBody>
            </p:sp>
            <p:sp>
              <p:nvSpPr>
                <p:cNvPr id="88" name="矩形 87"/>
                <p:cNvSpPr/>
                <p:nvPr>
                  <p:custDataLst>
                    <p:tags r:id="rId40"/>
                  </p:custDataLst>
                </p:nvPr>
              </p:nvSpPr>
              <p:spPr>
                <a:xfrm>
                  <a:off x="194701" y="3702326"/>
                  <a:ext cx="1112506" cy="434310"/>
                </a:xfrm>
                <a:prstGeom prst="rect">
                  <a:avLst/>
                </a:prstGeom>
                <a:solidFill>
                  <a:srgbClr val="5F96C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660" b="1" dirty="0">
                      <a:solidFill>
                        <a:schemeClr val="bg1"/>
                      </a:solidFill>
                      <a:latin typeface="Noto Sans" panose="020B0502040504020204" pitchFamily="34" charset="0"/>
                      <a:ea typeface="Noto Sans" panose="020B0502040504020204" pitchFamily="34" charset="0"/>
                      <a:cs typeface="Noto Sans" panose="020B0502040504020204" pitchFamily="34" charset="0"/>
                    </a:rPr>
                    <a:t>Junior Ability</a:t>
                  </a:r>
                </a:p>
                <a:p>
                  <a:pPr algn="ctr"/>
                  <a:r>
                    <a:rPr lang="en-US" sz="755" b="1" dirty="0">
                      <a:solidFill>
                        <a:schemeClr val="bg1"/>
                      </a:solidFill>
                      <a:latin typeface="Noto Sans" panose="020B0502040504020204" pitchFamily="34" charset="0"/>
                      <a:ea typeface="Noto Sans" panose="020B0502040504020204" pitchFamily="34" charset="0"/>
                      <a:cs typeface="Noto Sans" panose="020B0502040504020204" pitchFamily="34" charset="0"/>
                    </a:rPr>
                    <a:t>⭐ </a:t>
                  </a:r>
                </a:p>
              </p:txBody>
            </p:sp>
            <p:sp>
              <p:nvSpPr>
                <p:cNvPr id="89" name="矩形 88"/>
                <p:cNvSpPr/>
                <p:nvPr>
                  <p:custDataLst>
                    <p:tags r:id="rId41"/>
                  </p:custDataLst>
                </p:nvPr>
              </p:nvSpPr>
              <p:spPr>
                <a:xfrm>
                  <a:off x="188404" y="4229340"/>
                  <a:ext cx="1119841" cy="1040614"/>
                </a:xfrm>
                <a:prstGeom prst="rect">
                  <a:avLst/>
                </a:prstGeom>
                <a:solidFill>
                  <a:srgbClr val="5F96C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755" b="1" dirty="0">
                      <a:solidFill>
                        <a:schemeClr val="bg1"/>
                      </a:solidFill>
                      <a:latin typeface="Noto Sans" panose="020B0502040504020204" pitchFamily="34" charset="0"/>
                      <a:ea typeface="Noto Sans" panose="020B0502040504020204" pitchFamily="34" charset="0"/>
                      <a:cs typeface="Noto Sans" panose="020B0502040504020204" pitchFamily="34" charset="0"/>
                    </a:rPr>
                    <a:t>Common Basic Ability</a:t>
                  </a:r>
                  <a:endParaRPr lang="en-US" sz="755" b="1" dirty="0">
                    <a:solidFill>
                      <a:schemeClr val="bg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endParaRPr>
                </a:p>
              </p:txBody>
            </p:sp>
            <p:sp>
              <p:nvSpPr>
                <p:cNvPr id="90" name="矩形 89"/>
                <p:cNvSpPr/>
                <p:nvPr>
                  <p:custDataLst>
                    <p:tags r:id="rId42"/>
                  </p:custDataLst>
                </p:nvPr>
              </p:nvSpPr>
              <p:spPr>
                <a:xfrm>
                  <a:off x="1428898" y="4775100"/>
                  <a:ext cx="2245493" cy="471758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ts val="900"/>
                    </a:lnSpc>
                  </a:pPr>
                  <a:r>
                    <a:rPr lang="en-US" sz="755" dirty="0">
                      <a:solidFill>
                        <a:schemeClr val="tx1"/>
                      </a:solidFill>
                      <a:latin typeface="Noto Sans" panose="020B0502040504020204" pitchFamily="34" charset="0"/>
                      <a:ea typeface="Noto Sans" panose="020B0502040504020204" pitchFamily="34" charset="0"/>
                      <a:cs typeface="Noto Sans" panose="020B0502040504020204" pitchFamily="34" charset="0"/>
                    </a:rPr>
                    <a:t>RCNA</a:t>
                  </a:r>
                  <a:r>
                    <a:rPr lang="en-US" sz="755" b="1" dirty="0">
                      <a:solidFill>
                        <a:schemeClr val="tx1"/>
                      </a:solidFill>
                      <a:latin typeface="Noto Sans" panose="020B0502040504020204" pitchFamily="34" charset="0"/>
                      <a:ea typeface="Noto Sans" panose="020B0502040504020204" pitchFamily="34" charset="0"/>
                      <a:cs typeface="Noto Sans" panose="020B0502040504020204" pitchFamily="34" charset="0"/>
                    </a:rPr>
                    <a:t/>
                  </a:r>
                  <a:br>
                    <a:rPr lang="en-US" sz="755" b="1" dirty="0">
                      <a:solidFill>
                        <a:schemeClr val="tx1"/>
                      </a:solidFill>
                      <a:latin typeface="Noto Sans" panose="020B0502040504020204" pitchFamily="34" charset="0"/>
                      <a:ea typeface="Noto Sans" panose="020B0502040504020204" pitchFamily="34" charset="0"/>
                      <a:cs typeface="Noto Sans" panose="020B0502040504020204" pitchFamily="34" charset="0"/>
                    </a:rPr>
                  </a:br>
                  <a:r>
                    <a:rPr lang="en-US" sz="660" dirty="0">
                      <a:solidFill>
                        <a:schemeClr val="tx1"/>
                      </a:solidFill>
                      <a:latin typeface="Noto Sans" panose="020B0502040504020204" pitchFamily="34" charset="0"/>
                      <a:ea typeface="Noto Sans" panose="020B0502040504020204" pitchFamily="34" charset="0"/>
                      <a:cs typeface="Noto Sans" panose="020B0502040504020204" pitchFamily="34" charset="0"/>
                    </a:rPr>
                    <a:t>Ruijie Certified Network Associate </a:t>
                  </a:r>
                </a:p>
              </p:txBody>
            </p:sp>
            <p:sp>
              <p:nvSpPr>
                <p:cNvPr id="91" name="矩形 90"/>
                <p:cNvSpPr/>
                <p:nvPr>
                  <p:custDataLst>
                    <p:tags r:id="rId43"/>
                  </p:custDataLst>
                </p:nvPr>
              </p:nvSpPr>
              <p:spPr>
                <a:xfrm>
                  <a:off x="188404" y="5379819"/>
                  <a:ext cx="1119841" cy="403833"/>
                </a:xfrm>
                <a:prstGeom prst="rect">
                  <a:avLst/>
                </a:prstGeom>
                <a:solidFill>
                  <a:srgbClr val="5F96C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755" b="1" dirty="0">
                      <a:solidFill>
                        <a:schemeClr val="bg1"/>
                      </a:solidFill>
                      <a:latin typeface="Noto Sans" panose="020B0502040504020204" pitchFamily="34" charset="0"/>
                      <a:ea typeface="Noto Sans" panose="020B0502040504020204" pitchFamily="34" charset="0"/>
                      <a:cs typeface="Noto Sans" panose="020B0502040504020204" pitchFamily="34" charset="0"/>
                    </a:rPr>
                    <a:t>Knowledge</a:t>
                  </a:r>
                </a:p>
              </p:txBody>
            </p:sp>
            <p:sp>
              <p:nvSpPr>
                <p:cNvPr id="92" name="矩形 91"/>
                <p:cNvSpPr/>
                <p:nvPr>
                  <p:custDataLst>
                    <p:tags r:id="rId44"/>
                  </p:custDataLst>
                </p:nvPr>
              </p:nvSpPr>
              <p:spPr>
                <a:xfrm>
                  <a:off x="1448705" y="5379534"/>
                  <a:ext cx="1479882" cy="390901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755" dirty="0">
                      <a:solidFill>
                        <a:schemeClr val="tx1"/>
                      </a:solidFill>
                      <a:latin typeface="Noto Sans" panose="020B0502040504020204" pitchFamily="34" charset="0"/>
                      <a:ea typeface="Noto Sans" panose="020B0502040504020204" pitchFamily="34" charset="0"/>
                      <a:cs typeface="Noto Sans" panose="020B0502040504020204" pitchFamily="34" charset="0"/>
                    </a:rPr>
                    <a:t>Solution/</a:t>
                  </a:r>
                  <a:r>
                    <a:rPr lang="en-US" altLang="zh-CN" sz="755" dirty="0">
                      <a:solidFill>
                        <a:schemeClr val="tx1"/>
                      </a:solidFill>
                      <a:latin typeface="Noto Sans" panose="020B0502040504020204" pitchFamily="34" charset="0"/>
                      <a:ea typeface="Noto Sans" panose="020B0502040504020204" pitchFamily="34" charset="0"/>
                      <a:cs typeface="Noto Sans" panose="020B0502040504020204" pitchFamily="34" charset="0"/>
                    </a:rPr>
                    <a:t>Scenario</a:t>
                  </a:r>
                  <a:r>
                    <a:rPr lang="en-US" sz="755" dirty="0">
                      <a:solidFill>
                        <a:schemeClr val="tx1"/>
                      </a:solidFill>
                      <a:latin typeface="Noto Sans" panose="020B0502040504020204" pitchFamily="34" charset="0"/>
                      <a:ea typeface="Noto Sans" panose="020B0502040504020204" pitchFamily="34" charset="0"/>
                      <a:cs typeface="Noto Sans" panose="020B0502040504020204" pitchFamily="34" charset="0"/>
                    </a:rPr>
                    <a:t> </a:t>
                  </a:r>
                </a:p>
              </p:txBody>
            </p:sp>
            <p:sp>
              <p:nvSpPr>
                <p:cNvPr id="93" name="矩形 92"/>
                <p:cNvSpPr/>
                <p:nvPr>
                  <p:custDataLst>
                    <p:tags r:id="rId45"/>
                  </p:custDataLst>
                </p:nvPr>
              </p:nvSpPr>
              <p:spPr>
                <a:xfrm>
                  <a:off x="3848365" y="4775100"/>
                  <a:ext cx="1542645" cy="471758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tx1">
                      <a:lumMod val="65000"/>
                      <a:lumOff val="3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altLang="zh-CN" sz="755" dirty="0">
                      <a:solidFill>
                        <a:schemeClr val="tx1"/>
                      </a:solidFill>
                      <a:latin typeface="Noto Sans" panose="020B0502040504020204" pitchFamily="34" charset="0"/>
                      <a:ea typeface="Noto Sans" panose="020B0502040504020204" pitchFamily="34" charset="0"/>
                      <a:cs typeface="Noto Sans" panose="020B0502040504020204" pitchFamily="34" charset="0"/>
                    </a:rPr>
                    <a:t>RCNA-RS</a:t>
                  </a:r>
                  <a:endParaRPr lang="en-US" sz="755" dirty="0">
                    <a:solidFill>
                      <a:schemeClr val="tx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endParaRPr>
                </a:p>
              </p:txBody>
            </p:sp>
            <p:sp>
              <p:nvSpPr>
                <p:cNvPr id="94" name="上箭头 93"/>
                <p:cNvSpPr/>
                <p:nvPr>
                  <p:custDataLst>
                    <p:tags r:id="rId46"/>
                  </p:custDataLst>
                </p:nvPr>
              </p:nvSpPr>
              <p:spPr>
                <a:xfrm>
                  <a:off x="2471151" y="4675906"/>
                  <a:ext cx="132503" cy="107753"/>
                </a:xfrm>
                <a:prstGeom prst="upArrow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755">
                    <a:solidFill>
                      <a:schemeClr val="tx1"/>
                    </a:solidFill>
                    <a:latin typeface="Noto Sans" panose="020B0502040504020204" pitchFamily="34" charset="0"/>
                    <a:cs typeface="Noto Sans" panose="020B0502040504020204" pitchFamily="34" charset="0"/>
                  </a:endParaRPr>
                </a:p>
              </p:txBody>
            </p:sp>
            <p:sp>
              <p:nvSpPr>
                <p:cNvPr id="95" name="加号 94"/>
                <p:cNvSpPr/>
                <p:nvPr>
                  <p:custDataLst>
                    <p:tags r:id="rId47"/>
                  </p:custDataLst>
                </p:nvPr>
              </p:nvSpPr>
              <p:spPr>
                <a:xfrm>
                  <a:off x="3629731" y="3837467"/>
                  <a:ext cx="250929" cy="203769"/>
                </a:xfrm>
                <a:prstGeom prst="mathPlus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755">
                    <a:solidFill>
                      <a:schemeClr val="tx1"/>
                    </a:solidFill>
                    <a:latin typeface="Noto Sans" panose="020B0502040504020204" pitchFamily="34" charset="0"/>
                    <a:cs typeface="Noto Sans" panose="020B0502040504020204" pitchFamily="34" charset="0"/>
                  </a:endParaRPr>
                </a:p>
              </p:txBody>
            </p:sp>
            <p:sp>
              <p:nvSpPr>
                <p:cNvPr id="96" name="左右箭头 95"/>
                <p:cNvSpPr/>
                <p:nvPr>
                  <p:custDataLst>
                    <p:tags r:id="rId48"/>
                  </p:custDataLst>
                </p:nvPr>
              </p:nvSpPr>
              <p:spPr>
                <a:xfrm>
                  <a:off x="3676903" y="4436429"/>
                  <a:ext cx="176213" cy="109539"/>
                </a:xfrm>
                <a:prstGeom prst="leftRightArrow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zh-CN" altLang="en-US" sz="755">
                    <a:solidFill>
                      <a:schemeClr val="tx1"/>
                    </a:solidFill>
                    <a:latin typeface="Noto Sans" panose="020B0502040504020204" pitchFamily="34" charset="0"/>
                    <a:cs typeface="Noto Sans" panose="020B0502040504020204" pitchFamily="34" charset="0"/>
                  </a:endParaRPr>
                </a:p>
              </p:txBody>
            </p:sp>
          </p:grpSp>
          <p:sp>
            <p:nvSpPr>
              <p:cNvPr id="63" name="矩形 62"/>
              <p:cNvSpPr/>
              <p:nvPr>
                <p:custDataLst>
                  <p:tags r:id="rId15"/>
                </p:custDataLst>
              </p:nvPr>
            </p:nvSpPr>
            <p:spPr>
              <a:xfrm>
                <a:off x="8978643" y="2004258"/>
                <a:ext cx="654681" cy="2237529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755" dirty="0" smtClean="0">
                    <a:solidFill>
                      <a:schemeClr val="tx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RCI-Enterprise </a:t>
                </a:r>
                <a:r>
                  <a:rPr lang="en-US" sz="755" dirty="0" smtClean="0">
                    <a:solidFill>
                      <a:schemeClr val="tx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Instructor</a:t>
                </a:r>
                <a:endParaRPr lang="en-US" sz="755" dirty="0">
                  <a:solidFill>
                    <a:schemeClr val="tx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64" name="矩形 63"/>
              <p:cNvSpPr/>
              <p:nvPr>
                <p:custDataLst>
                  <p:tags r:id="rId16"/>
                </p:custDataLst>
              </p:nvPr>
            </p:nvSpPr>
            <p:spPr>
              <a:xfrm>
                <a:off x="5079287" y="2975475"/>
                <a:ext cx="1541968" cy="312289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755" dirty="0">
                    <a:solidFill>
                      <a:schemeClr val="tx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Office</a:t>
                </a:r>
              </a:p>
            </p:txBody>
          </p:sp>
          <p:sp>
            <p:nvSpPr>
              <p:cNvPr id="65" name="矩形 64"/>
              <p:cNvSpPr/>
              <p:nvPr>
                <p:custDataLst>
                  <p:tags r:id="rId17"/>
                </p:custDataLst>
              </p:nvPr>
            </p:nvSpPr>
            <p:spPr>
              <a:xfrm>
                <a:off x="6794628" y="4857944"/>
                <a:ext cx="3620821" cy="45963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755" dirty="0">
                    <a:solidFill>
                      <a:schemeClr val="tx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RCNA-WLAN</a:t>
                </a:r>
                <a:endParaRPr lang="en-US" sz="755" dirty="0">
                  <a:solidFill>
                    <a:schemeClr val="tx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66" name="矩形 65"/>
              <p:cNvSpPr/>
              <p:nvPr>
                <p:custDataLst>
                  <p:tags r:id="rId18"/>
                </p:custDataLst>
              </p:nvPr>
            </p:nvSpPr>
            <p:spPr>
              <a:xfrm>
                <a:off x="1433230" y="2578795"/>
                <a:ext cx="1119940" cy="1105645"/>
              </a:xfrm>
              <a:prstGeom prst="rect">
                <a:avLst/>
              </a:prstGeom>
              <a:solidFill>
                <a:srgbClr val="5F96C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660" b="1" dirty="0" smtClean="0">
                    <a:solidFill>
                      <a:schemeClr val="bg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Intermediate </a:t>
                </a:r>
                <a:r>
                  <a:rPr lang="en-US" altLang="zh-CN" sz="660" b="1" dirty="0" smtClean="0">
                    <a:solidFill>
                      <a:schemeClr val="bg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Ability</a:t>
                </a:r>
              </a:p>
              <a:p>
                <a:pPr algn="ctr"/>
                <a:r>
                  <a:rPr lang="en-US" sz="755" b="1" dirty="0">
                    <a:solidFill>
                      <a:schemeClr val="bg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⭐⭐</a:t>
                </a:r>
                <a:endParaRPr lang="en-US" sz="755" b="1" dirty="0">
                  <a:solidFill>
                    <a:srgbClr val="C00000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67" name="矩形 66"/>
              <p:cNvSpPr/>
              <p:nvPr>
                <p:custDataLst>
                  <p:tags r:id="rId19"/>
                </p:custDataLst>
              </p:nvPr>
            </p:nvSpPr>
            <p:spPr>
              <a:xfrm>
                <a:off x="9716250" y="2019639"/>
                <a:ext cx="774528" cy="2222149"/>
              </a:xfrm>
              <a:prstGeom prst="rect">
                <a:avLst/>
              </a:prstGeom>
              <a:solidFill>
                <a:srgbClr val="5F96C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755" b="1" dirty="0">
                    <a:solidFill>
                      <a:schemeClr val="bg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Trainer Ability</a:t>
                </a:r>
              </a:p>
            </p:txBody>
          </p:sp>
          <p:sp>
            <p:nvSpPr>
              <p:cNvPr id="68" name="矩形 67"/>
              <p:cNvSpPr/>
              <p:nvPr>
                <p:custDataLst>
                  <p:tags r:id="rId20"/>
                </p:custDataLst>
              </p:nvPr>
            </p:nvSpPr>
            <p:spPr>
              <a:xfrm>
                <a:off x="5887760" y="2591904"/>
                <a:ext cx="733784" cy="317364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755" dirty="0">
                    <a:solidFill>
                      <a:schemeClr val="tx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CCTV</a:t>
                </a:r>
              </a:p>
            </p:txBody>
          </p:sp>
          <p:sp>
            <p:nvSpPr>
              <p:cNvPr id="69" name="矩形 68"/>
              <p:cNvSpPr/>
              <p:nvPr>
                <p:custDataLst>
                  <p:tags r:id="rId21"/>
                </p:custDataLst>
              </p:nvPr>
            </p:nvSpPr>
            <p:spPr>
              <a:xfrm>
                <a:off x="5079288" y="2593667"/>
                <a:ext cx="715364" cy="32268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755" dirty="0">
                    <a:solidFill>
                      <a:schemeClr val="tx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Hotel</a:t>
                </a:r>
              </a:p>
            </p:txBody>
          </p:sp>
          <p:sp>
            <p:nvSpPr>
              <p:cNvPr id="70" name="矩形 69"/>
              <p:cNvSpPr/>
              <p:nvPr>
                <p:custDataLst>
                  <p:tags r:id="rId22"/>
                </p:custDataLst>
              </p:nvPr>
            </p:nvSpPr>
            <p:spPr>
              <a:xfrm>
                <a:off x="2686725" y="2975995"/>
                <a:ext cx="2228533" cy="30310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sz="755" dirty="0">
                    <a:solidFill>
                      <a:schemeClr val="tx1"/>
                    </a:solidFill>
                    <a:latin typeface="Noto Sans" panose="020B0502040504020204" pitchFamily="34" charset="0"/>
                    <a:ea typeface="宋体" panose="02010600030101010101" pitchFamily="2" charset="-122"/>
                    <a:cs typeface="Noto Sans" panose="020B0502040504020204" pitchFamily="34" charset="0"/>
                  </a:rPr>
                  <a:t>Manufacture </a:t>
                </a:r>
              </a:p>
            </p:txBody>
          </p:sp>
          <p:sp>
            <p:nvSpPr>
              <p:cNvPr id="71" name="矩形 70"/>
              <p:cNvSpPr/>
              <p:nvPr>
                <p:custDataLst>
                  <p:tags r:id="rId23"/>
                </p:custDataLst>
              </p:nvPr>
            </p:nvSpPr>
            <p:spPr>
              <a:xfrm>
                <a:off x="3893957" y="2579700"/>
                <a:ext cx="1019556" cy="336579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660" dirty="0" smtClean="0">
                    <a:solidFill>
                      <a:schemeClr val="tx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Hotel</a:t>
                </a:r>
              </a:p>
              <a:p>
                <a:pPr algn="ctr"/>
                <a:r>
                  <a:rPr lang="en-US" altLang="zh-CN" sz="565" dirty="0">
                    <a:solidFill>
                      <a:schemeClr val="tx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(</a:t>
                </a:r>
                <a:r>
                  <a:rPr lang="en-US" altLang="zh-CN" sz="565" dirty="0" smtClean="0">
                    <a:solidFill>
                      <a:schemeClr val="tx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AC</a:t>
                </a:r>
                <a:r>
                  <a:rPr lang="zh-CN" altLang="en-US" sz="565" dirty="0" smtClean="0">
                    <a:solidFill>
                      <a:schemeClr val="tx1"/>
                    </a:solidFill>
                    <a:latin typeface="Noto Sans" panose="020B0502040504020204" pitchFamily="34" charset="0"/>
                    <a:ea typeface="宋体" panose="02010600030101010101" pitchFamily="2" charset="-122"/>
                    <a:cs typeface="Noto Sans" panose="020B0502040504020204" pitchFamily="34" charset="0"/>
                    <a:sym typeface="+mn-ea"/>
                  </a:rPr>
                  <a:t>-based</a:t>
                </a:r>
                <a:r>
                  <a:rPr lang="en-US" altLang="zh-CN" sz="565" dirty="0">
                    <a:solidFill>
                      <a:schemeClr val="tx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  <a:sym typeface="+mn-ea"/>
                  </a:rPr>
                  <a:t>)</a:t>
                </a:r>
                <a:endParaRPr lang="en-US" sz="565" dirty="0">
                  <a:solidFill>
                    <a:srgbClr val="C00000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72" name="矩形 71"/>
              <p:cNvSpPr/>
              <p:nvPr>
                <p:custDataLst>
                  <p:tags r:id="rId24"/>
                </p:custDataLst>
              </p:nvPr>
            </p:nvSpPr>
            <p:spPr>
              <a:xfrm>
                <a:off x="2686725" y="2594176"/>
                <a:ext cx="1112084" cy="32300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660" dirty="0" smtClean="0">
                    <a:solidFill>
                      <a:schemeClr val="tx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Hotel</a:t>
                </a:r>
              </a:p>
              <a:p>
                <a:pPr algn="ctr"/>
                <a:r>
                  <a:rPr lang="en-US" sz="565" dirty="0" smtClean="0">
                    <a:solidFill>
                      <a:schemeClr val="tx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(</a:t>
                </a:r>
                <a:r>
                  <a:rPr lang="zh-CN" altLang="en-US" sz="565" dirty="0" smtClean="0">
                    <a:solidFill>
                      <a:schemeClr val="tx1"/>
                    </a:solidFill>
                    <a:latin typeface="Noto Sans" panose="020B0502040504020204" pitchFamily="34" charset="0"/>
                    <a:ea typeface="宋体" panose="02010600030101010101" pitchFamily="2" charset="-122"/>
                    <a:cs typeface="Noto Sans" panose="020B0502040504020204" pitchFamily="34" charset="0"/>
                  </a:rPr>
                  <a:t>Cloud-based</a:t>
                </a:r>
                <a:r>
                  <a:rPr lang="en-US" altLang="zh-CN" sz="565" dirty="0">
                    <a:solidFill>
                      <a:schemeClr val="tx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)</a:t>
                </a:r>
                <a:endParaRPr lang="en-US" sz="565" dirty="0">
                  <a:solidFill>
                    <a:schemeClr val="tx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73" name="矩形 72"/>
              <p:cNvSpPr/>
              <p:nvPr>
                <p:custDataLst>
                  <p:tags r:id="rId25"/>
                </p:custDataLst>
              </p:nvPr>
            </p:nvSpPr>
            <p:spPr>
              <a:xfrm>
                <a:off x="2671952" y="2003870"/>
                <a:ext cx="2240282" cy="471774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755" dirty="0">
                    <a:solidFill>
                      <a:srgbClr val="C00000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RSE- </a:t>
                </a:r>
                <a:r>
                  <a:rPr lang="en-US" altLang="zh-CN" sz="755" dirty="0" smtClean="0">
                    <a:solidFill>
                      <a:srgbClr val="C00000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Enterprise Troubleshooting </a:t>
                </a:r>
                <a:endParaRPr lang="en-US" altLang="zh-CN" sz="755" dirty="0">
                  <a:solidFill>
                    <a:srgbClr val="C00000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74" name="矩形 73"/>
              <p:cNvSpPr/>
              <p:nvPr>
                <p:custDataLst>
                  <p:tags r:id="rId26"/>
                </p:custDataLst>
              </p:nvPr>
            </p:nvSpPr>
            <p:spPr>
              <a:xfrm>
                <a:off x="1432542" y="2001331"/>
                <a:ext cx="1112509" cy="474313"/>
              </a:xfrm>
              <a:prstGeom prst="rect">
                <a:avLst/>
              </a:prstGeom>
              <a:solidFill>
                <a:srgbClr val="5F96C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660" b="1" dirty="0" smtClean="0">
                    <a:solidFill>
                      <a:schemeClr val="bg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Senior</a:t>
                </a:r>
                <a:r>
                  <a:rPr lang="en-US" sz="660" b="1" dirty="0" smtClean="0">
                    <a:solidFill>
                      <a:schemeClr val="bg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 </a:t>
                </a:r>
                <a:r>
                  <a:rPr lang="en-US" altLang="zh-CN" sz="660" b="1" dirty="0">
                    <a:solidFill>
                      <a:schemeClr val="bg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Ability</a:t>
                </a:r>
              </a:p>
              <a:p>
                <a:pPr algn="ctr"/>
                <a:r>
                  <a:rPr lang="en-US" sz="660" b="1" dirty="0">
                    <a:solidFill>
                      <a:schemeClr val="bg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⭐⭐⭐</a:t>
                </a:r>
                <a:r>
                  <a:rPr lang="en-US" sz="660" b="1" dirty="0">
                    <a:solidFill>
                      <a:srgbClr val="C00000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 </a:t>
                </a:r>
              </a:p>
            </p:txBody>
          </p:sp>
          <p:sp>
            <p:nvSpPr>
              <p:cNvPr id="75" name="上箭头 74"/>
              <p:cNvSpPr/>
              <p:nvPr>
                <p:custDataLst>
                  <p:tags r:id="rId27"/>
                </p:custDataLst>
              </p:nvPr>
            </p:nvSpPr>
            <p:spPr>
              <a:xfrm>
                <a:off x="3768351" y="3676301"/>
                <a:ext cx="132503" cy="107753"/>
              </a:xfrm>
              <a:prstGeom prst="upArrow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755">
                  <a:solidFill>
                    <a:schemeClr val="tx1"/>
                  </a:solidFill>
                  <a:latin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76" name="上箭头 75"/>
              <p:cNvSpPr/>
              <p:nvPr>
                <p:custDataLst>
                  <p:tags r:id="rId28"/>
                </p:custDataLst>
              </p:nvPr>
            </p:nvSpPr>
            <p:spPr>
              <a:xfrm>
                <a:off x="5762748" y="3683901"/>
                <a:ext cx="132503" cy="107753"/>
              </a:xfrm>
              <a:prstGeom prst="upArrow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755">
                  <a:solidFill>
                    <a:schemeClr val="tx1"/>
                  </a:solidFill>
                  <a:latin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77" name="上箭头 76"/>
              <p:cNvSpPr/>
              <p:nvPr>
                <p:custDataLst>
                  <p:tags r:id="rId29"/>
                </p:custDataLst>
              </p:nvPr>
            </p:nvSpPr>
            <p:spPr>
              <a:xfrm>
                <a:off x="3783420" y="2470032"/>
                <a:ext cx="132503" cy="107755"/>
              </a:xfrm>
              <a:prstGeom prst="upArrow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755">
                  <a:solidFill>
                    <a:schemeClr val="tx1"/>
                  </a:solidFill>
                  <a:latin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78" name="矩形 77"/>
              <p:cNvSpPr/>
              <p:nvPr>
                <p:custDataLst>
                  <p:tags r:id="rId30"/>
                </p:custDataLst>
              </p:nvPr>
            </p:nvSpPr>
            <p:spPr>
              <a:xfrm>
                <a:off x="8243655" y="2019638"/>
                <a:ext cx="655554" cy="2237529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755" dirty="0">
                    <a:solidFill>
                      <a:schemeClr val="tx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R</a:t>
                </a:r>
                <a:r>
                  <a:rPr lang="en-US" altLang="zh-CN" sz="755" dirty="0">
                    <a:solidFill>
                      <a:schemeClr val="tx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CI</a:t>
                </a:r>
                <a:r>
                  <a:rPr lang="en-US" sz="755" dirty="0">
                    <a:solidFill>
                      <a:schemeClr val="tx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- </a:t>
                </a:r>
                <a:r>
                  <a:rPr lang="en-US" altLang="zh-CN" sz="755" dirty="0" err="1" smtClean="0">
                    <a:solidFill>
                      <a:schemeClr val="tx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Reyee</a:t>
                </a:r>
                <a:r>
                  <a:rPr lang="en-US" altLang="zh-CN" sz="755" dirty="0">
                    <a:solidFill>
                      <a:schemeClr val="tx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 </a:t>
                </a:r>
                <a:r>
                  <a:rPr lang="en-US" sz="755" dirty="0" smtClean="0">
                    <a:solidFill>
                      <a:schemeClr val="tx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Instructor</a:t>
                </a:r>
                <a:endParaRPr lang="en-US" sz="755" dirty="0">
                  <a:solidFill>
                    <a:schemeClr val="tx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79" name="矩形 78"/>
              <p:cNvSpPr/>
              <p:nvPr>
                <p:custDataLst>
                  <p:tags r:id="rId31"/>
                </p:custDataLst>
              </p:nvPr>
            </p:nvSpPr>
            <p:spPr>
              <a:xfrm>
                <a:off x="4213470" y="5453881"/>
                <a:ext cx="1289029" cy="39090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sz="755" dirty="0">
                    <a:solidFill>
                      <a:schemeClr val="tx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Product</a:t>
                </a:r>
                <a:endParaRPr lang="en-US" sz="755" dirty="0">
                  <a:solidFill>
                    <a:schemeClr val="tx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80" name="矩形 79"/>
              <p:cNvSpPr/>
              <p:nvPr>
                <p:custDataLst>
                  <p:tags r:id="rId32"/>
                </p:custDataLst>
              </p:nvPr>
            </p:nvSpPr>
            <p:spPr>
              <a:xfrm>
                <a:off x="5545526" y="5446734"/>
                <a:ext cx="1386463" cy="411265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755" dirty="0">
                    <a:solidFill>
                      <a:schemeClr val="tx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Cookbook</a:t>
                </a:r>
              </a:p>
            </p:txBody>
          </p:sp>
          <p:sp>
            <p:nvSpPr>
              <p:cNvPr id="81" name="矩形 80"/>
              <p:cNvSpPr/>
              <p:nvPr>
                <p:custDataLst>
                  <p:tags r:id="rId33"/>
                </p:custDataLst>
              </p:nvPr>
            </p:nvSpPr>
            <p:spPr>
              <a:xfrm>
                <a:off x="6979029" y="5446734"/>
                <a:ext cx="1386463" cy="411265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755" dirty="0">
                    <a:solidFill>
                      <a:schemeClr val="tx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Troubleshooting</a:t>
                </a:r>
              </a:p>
            </p:txBody>
          </p:sp>
          <p:sp>
            <p:nvSpPr>
              <p:cNvPr id="82" name="矩形 81"/>
              <p:cNvSpPr/>
              <p:nvPr>
                <p:custDataLst>
                  <p:tags r:id="rId34"/>
                </p:custDataLst>
              </p:nvPr>
            </p:nvSpPr>
            <p:spPr>
              <a:xfrm>
                <a:off x="8404270" y="5454196"/>
                <a:ext cx="657299" cy="390866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755" dirty="0">
                    <a:solidFill>
                      <a:schemeClr val="tx1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FAQ</a:t>
                </a:r>
              </a:p>
            </p:txBody>
          </p:sp>
          <p:sp>
            <p:nvSpPr>
              <p:cNvPr id="83" name="左右箭头 82"/>
              <p:cNvSpPr/>
              <p:nvPr>
                <p:custDataLst>
                  <p:tags r:id="rId35"/>
                </p:custDataLst>
              </p:nvPr>
            </p:nvSpPr>
            <p:spPr>
              <a:xfrm>
                <a:off x="4911115" y="5030556"/>
                <a:ext cx="176213" cy="109539"/>
              </a:xfrm>
              <a:prstGeom prst="leftRightArrow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755">
                  <a:solidFill>
                    <a:schemeClr val="tx1"/>
                  </a:solidFill>
                  <a:latin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84" name="文本框 83"/>
              <p:cNvSpPr txBox="1"/>
              <p:nvPr>
                <p:custDataLst>
                  <p:tags r:id="rId36"/>
                </p:custDataLst>
              </p:nvPr>
            </p:nvSpPr>
            <p:spPr>
              <a:xfrm>
                <a:off x="3798942" y="1562203"/>
                <a:ext cx="4057051" cy="3131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altLang="zh-CN" sz="755" b="1" dirty="0">
                    <a:solidFill>
                      <a:srgbClr val="FFFFFF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Improve skills for more customers</a:t>
                </a:r>
              </a:p>
            </p:txBody>
          </p:sp>
        </p:grpSp>
        <p:sp>
          <p:nvSpPr>
            <p:cNvPr id="56" name="矩形 55"/>
            <p:cNvSpPr/>
            <p:nvPr>
              <p:custDataLst>
                <p:tags r:id="rId9"/>
              </p:custDataLst>
            </p:nvPr>
          </p:nvSpPr>
          <p:spPr>
            <a:xfrm>
              <a:off x="7005453" y="1814196"/>
              <a:ext cx="1555750" cy="4749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755" dirty="0">
                  <a:solidFill>
                    <a:srgbClr val="C00000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RSE- </a:t>
              </a:r>
              <a:r>
                <a:rPr lang="en-US" altLang="zh-CN" sz="755" dirty="0" err="1" smtClean="0">
                  <a:solidFill>
                    <a:srgbClr val="C00000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Reyee</a:t>
              </a:r>
              <a:r>
                <a:rPr lang="en-US" altLang="zh-CN" sz="755" dirty="0">
                  <a:solidFill>
                    <a:srgbClr val="C00000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Troubleshooting</a:t>
              </a:r>
            </a:p>
          </p:txBody>
        </p:sp>
        <p:sp>
          <p:nvSpPr>
            <p:cNvPr id="57" name="上箭头 56"/>
            <p:cNvSpPr/>
            <p:nvPr>
              <p:custDataLst>
                <p:tags r:id="rId10"/>
              </p:custDataLst>
            </p:nvPr>
          </p:nvSpPr>
          <p:spPr>
            <a:xfrm>
              <a:off x="7693784" y="2289191"/>
              <a:ext cx="132503" cy="107753"/>
            </a:xfrm>
            <a:prstGeom prst="upArrow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755">
                <a:solidFill>
                  <a:schemeClr val="tx1"/>
                </a:solidFill>
                <a:latin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58" name="矩形 57"/>
            <p:cNvSpPr/>
            <p:nvPr>
              <p:custDataLst>
                <p:tags r:id="rId11"/>
              </p:custDataLst>
            </p:nvPr>
          </p:nvSpPr>
          <p:spPr>
            <a:xfrm>
              <a:off x="4592613" y="3164450"/>
              <a:ext cx="2244824" cy="33660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755" dirty="0">
                  <a:solidFill>
                    <a:schemeClr val="tx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RSE- </a:t>
              </a:r>
              <a:r>
                <a:rPr lang="en-US" sz="755" dirty="0" smtClean="0">
                  <a:solidFill>
                    <a:schemeClr val="tx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Enterprise </a:t>
              </a:r>
              <a:r>
                <a:rPr lang="en-US" sz="755" dirty="0">
                  <a:solidFill>
                    <a:schemeClr val="tx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S</a:t>
              </a:r>
              <a:r>
                <a:rPr lang="en-US" altLang="zh-CN" sz="755" dirty="0" smtClean="0">
                  <a:solidFill>
                    <a:schemeClr val="tx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olution</a:t>
              </a:r>
              <a:endParaRPr lang="en-US" sz="755" dirty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59" name="矩形 58"/>
            <p:cNvSpPr/>
            <p:nvPr>
              <p:custDataLst>
                <p:tags r:id="rId12"/>
              </p:custDataLst>
            </p:nvPr>
          </p:nvSpPr>
          <p:spPr>
            <a:xfrm>
              <a:off x="7005453" y="3164841"/>
              <a:ext cx="1555115" cy="33845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755" dirty="0" smtClean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  <a:p>
              <a:pPr algn="ctr"/>
              <a:r>
                <a:rPr lang="en-US" sz="710" dirty="0" smtClean="0">
                  <a:solidFill>
                    <a:schemeClr val="tx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RSE- </a:t>
              </a:r>
              <a:r>
                <a:rPr lang="en-US" sz="710" dirty="0" err="1" smtClean="0">
                  <a:solidFill>
                    <a:schemeClr val="tx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R</a:t>
              </a:r>
              <a:r>
                <a:rPr lang="en-US" altLang="zh-CN" sz="710" dirty="0" err="1" smtClean="0">
                  <a:solidFill>
                    <a:schemeClr val="tx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eyee</a:t>
              </a:r>
              <a:r>
                <a:rPr lang="en-US" altLang="zh-CN" sz="710" dirty="0">
                  <a:solidFill>
                    <a:schemeClr val="tx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Solution</a:t>
              </a:r>
            </a:p>
            <a:p>
              <a:pPr algn="ctr"/>
              <a:endParaRPr lang="en-US" sz="755" dirty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</p:grpSp>
      <p:grpSp>
        <p:nvGrpSpPr>
          <p:cNvPr id="97" name="组合 96"/>
          <p:cNvGrpSpPr/>
          <p:nvPr/>
        </p:nvGrpSpPr>
        <p:grpSpPr>
          <a:xfrm>
            <a:off x="442721" y="1297955"/>
            <a:ext cx="4334587" cy="2688943"/>
            <a:chOff x="879192" y="2037577"/>
            <a:chExt cx="4797430" cy="2846070"/>
          </a:xfrm>
        </p:grpSpPr>
        <p:sp>
          <p:nvSpPr>
            <p:cNvPr id="98" name="文本框 97"/>
            <p:cNvSpPr txBox="1"/>
            <p:nvPr>
              <p:custDataLst>
                <p:tags r:id="rId5"/>
              </p:custDataLst>
            </p:nvPr>
          </p:nvSpPr>
          <p:spPr>
            <a:xfrm>
              <a:off x="1013985" y="2037577"/>
              <a:ext cx="4662637" cy="284607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>
                <a:lnSpc>
                  <a:spcPct val="150000"/>
                </a:lnSpc>
                <a:buSzPct val="25000"/>
              </a:pPr>
              <a:r>
                <a:rPr lang="en-US" altLang="zh-CN" sz="1510" b="1" dirty="0">
                  <a:solidFill>
                    <a:srgbClr val="C00000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+mn-ea"/>
                </a:rPr>
                <a:t>Professional Certification</a:t>
              </a:r>
            </a:p>
            <a:p>
              <a:pPr>
                <a:lnSpc>
                  <a:spcPct val="150000"/>
                </a:lnSpc>
                <a:buSzPct val="25000"/>
              </a:pPr>
              <a:r>
                <a:rPr lang="en-US" altLang="zh-CN" sz="945" dirty="0" smtClean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+mn-ea"/>
                </a:rPr>
                <a:t>Improves </a:t>
              </a:r>
              <a:r>
                <a:rPr lang="en-US" altLang="zh-CN" sz="945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+mn-ea"/>
                </a:rPr>
                <a:t>the </a:t>
              </a:r>
              <a:r>
                <a:rPr lang="en-US" altLang="zh-CN" sz="945" dirty="0" smtClean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+mn-ea"/>
                </a:rPr>
                <a:t>general technical capacity of </a:t>
              </a:r>
              <a:r>
                <a:rPr lang="en-US" altLang="zh-CN" sz="945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+mn-ea"/>
                </a:rPr>
                <a:t>engineers</a:t>
              </a:r>
            </a:p>
            <a:p>
              <a:pPr>
                <a:lnSpc>
                  <a:spcPct val="150000"/>
                </a:lnSpc>
                <a:buSzPct val="25000"/>
              </a:pPr>
              <a:endParaRPr lang="en-US" altLang="zh-CN" sz="1135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+mn-ea"/>
              </a:endParaRPr>
            </a:p>
            <a:p>
              <a:pPr>
                <a:lnSpc>
                  <a:spcPct val="150000"/>
                </a:lnSpc>
                <a:buSzPct val="25000"/>
              </a:pPr>
              <a:r>
                <a:rPr lang="en-US" altLang="zh-CN" sz="1510" b="1" dirty="0">
                  <a:solidFill>
                    <a:srgbClr val="C00000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+mn-ea"/>
                </a:rPr>
                <a:t>RSE Certification</a:t>
              </a:r>
            </a:p>
            <a:p>
              <a:pPr>
                <a:lnSpc>
                  <a:spcPct val="150000"/>
                </a:lnSpc>
                <a:buSzPct val="25000"/>
              </a:pPr>
              <a:r>
                <a:rPr lang="en-US" altLang="zh-CN" sz="945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+mn-ea"/>
                </a:rPr>
                <a:t>Provide a series of products + solutions + troubleshooting training, </a:t>
              </a:r>
              <a:r>
                <a:rPr lang="en-US" altLang="zh-CN" sz="945" dirty="0" smtClean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+mn-ea"/>
                </a:rPr>
                <a:t>improving </a:t>
              </a:r>
              <a:r>
                <a:rPr lang="en-US" altLang="zh-CN" sz="945" dirty="0" err="1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+mn-ea"/>
                </a:rPr>
                <a:t>Ruijie</a:t>
              </a:r>
              <a:r>
                <a:rPr lang="en-US" altLang="zh-CN" sz="945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+mn-ea"/>
                </a:rPr>
                <a:t> product capabilities of engineers</a:t>
              </a:r>
            </a:p>
            <a:p>
              <a:pPr>
                <a:lnSpc>
                  <a:spcPct val="150000"/>
                </a:lnSpc>
                <a:buSzPct val="25000"/>
              </a:pPr>
              <a:endParaRPr lang="en-US" altLang="zh-CN" sz="1135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+mn-ea"/>
              </a:endParaRPr>
            </a:p>
            <a:p>
              <a:pPr>
                <a:lnSpc>
                  <a:spcPct val="150000"/>
                </a:lnSpc>
                <a:buSzPct val="25000"/>
              </a:pPr>
              <a:r>
                <a:rPr lang="en-US" altLang="zh-CN" sz="1510" b="1" dirty="0">
                  <a:solidFill>
                    <a:srgbClr val="C00000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Instructor Certification</a:t>
              </a:r>
            </a:p>
            <a:p>
              <a:pPr>
                <a:lnSpc>
                  <a:spcPct val="150000"/>
                </a:lnSpc>
                <a:buSzPct val="25000"/>
              </a:pPr>
              <a:r>
                <a:rPr lang="en-US" altLang="zh-CN" sz="945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Develop the </a:t>
              </a:r>
              <a:r>
                <a:rPr lang="en-US" altLang="zh-CN" sz="945" dirty="0" smtClean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capacities of </a:t>
              </a:r>
              <a:r>
                <a:rPr lang="en-US" altLang="zh-CN" sz="945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lecturers and transfer </a:t>
              </a:r>
              <a:r>
                <a:rPr lang="en-US" altLang="zh-CN" sz="945" dirty="0" smtClean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the capacities to </a:t>
              </a:r>
              <a:r>
                <a:rPr lang="en-US" altLang="zh-CN" sz="945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more engineers</a:t>
              </a:r>
            </a:p>
            <a:p>
              <a:pPr>
                <a:lnSpc>
                  <a:spcPct val="150000"/>
                </a:lnSpc>
                <a:buSzPct val="25000"/>
              </a:pPr>
              <a:endParaRPr lang="en-US" altLang="zh-CN" sz="1510" b="1" dirty="0">
                <a:solidFill>
                  <a:srgbClr val="416E9B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  <a:p>
              <a:pPr>
                <a:lnSpc>
                  <a:spcPct val="150000"/>
                </a:lnSpc>
                <a:buSzPct val="25000"/>
              </a:pPr>
              <a:endParaRPr lang="en-US" altLang="zh-CN" sz="1135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+mn-ea"/>
              </a:endParaRPr>
            </a:p>
          </p:txBody>
        </p:sp>
        <p:sp>
          <p:nvSpPr>
            <p:cNvPr id="99" name="椭圆 98"/>
            <p:cNvSpPr/>
            <p:nvPr>
              <p:custDataLst>
                <p:tags r:id="rId6"/>
              </p:custDataLst>
            </p:nvPr>
          </p:nvSpPr>
          <p:spPr>
            <a:xfrm>
              <a:off x="879192" y="2219676"/>
              <a:ext cx="134774" cy="134774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700">
                <a:latin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100" name="椭圆 99"/>
            <p:cNvSpPr/>
            <p:nvPr>
              <p:custDataLst>
                <p:tags r:id="rId7"/>
              </p:custDataLst>
            </p:nvPr>
          </p:nvSpPr>
          <p:spPr>
            <a:xfrm>
              <a:off x="879192" y="3075999"/>
              <a:ext cx="134774" cy="134774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700">
                <a:latin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101" name="椭圆 100"/>
            <p:cNvSpPr/>
            <p:nvPr>
              <p:custDataLst>
                <p:tags r:id="rId8"/>
              </p:custDataLst>
            </p:nvPr>
          </p:nvSpPr>
          <p:spPr>
            <a:xfrm>
              <a:off x="879192" y="4192346"/>
              <a:ext cx="134774" cy="134774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700">
                <a:latin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</p:grpSp>
      <p:sp>
        <p:nvSpPr>
          <p:cNvPr id="52" name="矩形 51"/>
          <p:cNvSpPr/>
          <p:nvPr>
            <p:custDataLst>
              <p:tags r:id="rId2"/>
            </p:custDataLst>
          </p:nvPr>
        </p:nvSpPr>
        <p:spPr>
          <a:xfrm>
            <a:off x="8708768" y="2554953"/>
            <a:ext cx="827321" cy="290372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55" dirty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SE- Security</a:t>
            </a:r>
          </a:p>
        </p:txBody>
      </p:sp>
      <p:sp>
        <p:nvSpPr>
          <p:cNvPr id="102" name="加号 101"/>
          <p:cNvSpPr/>
          <p:nvPr>
            <p:custDataLst>
              <p:tags r:id="rId3"/>
            </p:custDataLst>
          </p:nvPr>
        </p:nvSpPr>
        <p:spPr>
          <a:xfrm>
            <a:off x="8536337" y="2647761"/>
            <a:ext cx="172461" cy="135115"/>
          </a:xfrm>
          <a:prstGeom prst="mathPlus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755">
              <a:solidFill>
                <a:schemeClr val="tx1"/>
              </a:solidFill>
              <a:latin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103" name="矩形 102"/>
          <p:cNvSpPr/>
          <p:nvPr>
            <p:custDataLst>
              <p:tags r:id="rId4"/>
            </p:custDataLst>
          </p:nvPr>
        </p:nvSpPr>
        <p:spPr>
          <a:xfrm>
            <a:off x="10257820" y="3665447"/>
            <a:ext cx="901114" cy="26457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55" dirty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How To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76734" y="402155"/>
            <a:ext cx="10942166" cy="605684"/>
          </a:xfrm>
        </p:spPr>
        <p:txBody>
          <a:bodyPr/>
          <a:lstStyle/>
          <a:p>
            <a:r>
              <a:rPr lang="en-US" altLang="zh-CN" dirty="0">
                <a:solidFill>
                  <a:schemeClr val="tx1"/>
                </a:solidFill>
                <a:latin typeface="Noto Sans Black" panose="020B0A02040504020204"/>
              </a:rPr>
              <a:t>Online Learning Resource: </a:t>
            </a:r>
            <a:r>
              <a:rPr lang="en-US" altLang="zh-CN" dirty="0">
                <a:latin typeface="Noto Sans Black" panose="020B0A02040504020204"/>
              </a:rPr>
              <a:t>E-Learning</a:t>
            </a:r>
          </a:p>
        </p:txBody>
      </p:sp>
      <p:sp>
        <p:nvSpPr>
          <p:cNvPr id="367" name="内容占位符 2"/>
          <p:cNvSpPr txBox="1"/>
          <p:nvPr/>
        </p:nvSpPr>
        <p:spPr>
          <a:xfrm>
            <a:off x="576000" y="1080215"/>
            <a:ext cx="10728066" cy="429947"/>
          </a:xfrm>
          <a:prstGeom prst="rect">
            <a:avLst/>
          </a:prstGeom>
        </p:spPr>
        <p:txBody>
          <a:bodyPr/>
          <a:lstStyle>
            <a:lvl1pPr marL="0" indent="0" algn="l" defTabSz="863600" rtl="0" eaLnBrk="1" latinLnBrk="0" hangingPunct="1">
              <a:lnSpc>
                <a:spcPct val="120000"/>
              </a:lnSpc>
              <a:spcBef>
                <a:spcPts val="945"/>
              </a:spcBef>
              <a:buFont typeface="Arial" panose="020B0604020202020204" pitchFamily="34" charset="0"/>
              <a:buNone/>
              <a:defRPr sz="1200" kern="1200">
                <a:solidFill>
                  <a:srgbClr val="50555A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431800" indent="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None/>
              <a:defRPr sz="2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1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19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437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8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86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04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22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E-Learning is an unified platform for </a:t>
            </a:r>
            <a:r>
              <a:rPr lang="en-US" altLang="zh-CN" sz="18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technical study and certification</a:t>
            </a:r>
            <a:r>
              <a:rPr lang="en-US" altLang="zh-CN" sz="18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, providing you with </a:t>
            </a:r>
            <a:r>
              <a:rPr lang="en-US" altLang="zh-CN" sz="1800" dirty="0" err="1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uijie</a:t>
            </a:r>
            <a:r>
              <a:rPr lang="en-US" altLang="zh-CN" sz="18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training videos, materials and so on.</a:t>
            </a:r>
          </a:p>
        </p:txBody>
      </p:sp>
      <p:sp>
        <p:nvSpPr>
          <p:cNvPr id="368" name="文本框 367">
            <a:hlinkClick r:id="rId2"/>
          </p:cNvPr>
          <p:cNvSpPr txBox="1"/>
          <p:nvPr/>
        </p:nvSpPr>
        <p:spPr>
          <a:xfrm>
            <a:off x="636172" y="5524237"/>
            <a:ext cx="105599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SzPct val="25000"/>
            </a:pPr>
            <a:r>
              <a:rPr lang="en-US" altLang="zh-CN" sz="1200" u="sng" dirty="0">
                <a:solidFill>
                  <a:srgbClr val="FF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hlinkClick r:id="rId3"/>
              </a:rPr>
              <a:t>https://elearning.ruijienetworks.com/</a:t>
            </a:r>
            <a:endParaRPr lang="en-US" altLang="zh-CN" sz="1200" b="1" u="sng" dirty="0">
              <a:solidFill>
                <a:srgbClr val="FF0000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pic>
        <p:nvPicPr>
          <p:cNvPr id="370" name="图片 36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44405" y="1799927"/>
            <a:ext cx="6743438" cy="357304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76734" y="402155"/>
            <a:ext cx="10942166" cy="605684"/>
          </a:xfrm>
        </p:spPr>
        <p:txBody>
          <a:bodyPr/>
          <a:lstStyle/>
          <a:p>
            <a:r>
              <a:rPr lang="en-US" altLang="zh-CN" dirty="0">
                <a:solidFill>
                  <a:schemeClr val="tx1"/>
                </a:solidFill>
                <a:latin typeface="Noto Sans Black" panose="020B0A02040504020204"/>
              </a:rPr>
              <a:t>Online Learning Resource: </a:t>
            </a:r>
            <a:r>
              <a:rPr lang="en-US" altLang="zh-CN" dirty="0">
                <a:latin typeface="Noto Sans Black" panose="020B0A02040504020204"/>
              </a:rPr>
              <a:t>Training Webpage</a:t>
            </a:r>
          </a:p>
        </p:txBody>
      </p:sp>
      <p:grpSp>
        <p:nvGrpSpPr>
          <p:cNvPr id="23" name="组合 22"/>
          <p:cNvGrpSpPr/>
          <p:nvPr/>
        </p:nvGrpSpPr>
        <p:grpSpPr>
          <a:xfrm>
            <a:off x="533907" y="1627203"/>
            <a:ext cx="4334638" cy="2693045"/>
            <a:chOff x="879192" y="2037577"/>
            <a:chExt cx="5408437" cy="2693045"/>
          </a:xfrm>
        </p:grpSpPr>
        <p:sp>
          <p:nvSpPr>
            <p:cNvPr id="24" name="文本框 23"/>
            <p:cNvSpPr txBox="1"/>
            <p:nvPr/>
          </p:nvSpPr>
          <p:spPr>
            <a:xfrm>
              <a:off x="1081295" y="2037577"/>
              <a:ext cx="5206334" cy="26930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  <a:buSzPct val="25000"/>
              </a:pPr>
              <a:r>
                <a:rPr lang="en-US" altLang="zh-CN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+mn-ea"/>
                </a:rPr>
                <a:t>Quick viewing of </a:t>
              </a:r>
              <a:r>
                <a:rPr lang="en-US" altLang="zh-CN" b="1" dirty="0">
                  <a:solidFill>
                    <a:srgbClr val="C00000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+mn-ea"/>
                </a:rPr>
                <a:t>training schedule</a:t>
              </a:r>
            </a:p>
            <a:p>
              <a:pPr>
                <a:lnSpc>
                  <a:spcPct val="150000"/>
                </a:lnSpc>
                <a:buSzPct val="25000"/>
              </a:pPr>
              <a:r>
                <a:rPr lang="en-US" altLang="zh-CN" sz="1200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+mn-ea"/>
                </a:rPr>
                <a:t>Detailed information and training materials are provided in the Training Calendar.</a:t>
              </a:r>
            </a:p>
            <a:p>
              <a:pPr>
                <a:lnSpc>
                  <a:spcPct val="150000"/>
                </a:lnSpc>
                <a:buSzPct val="25000"/>
              </a:pPr>
              <a:endParaRPr lang="en-US" altLang="zh-CN" sz="10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+mn-ea"/>
              </a:endParaRPr>
            </a:p>
            <a:p>
              <a:pPr>
                <a:lnSpc>
                  <a:spcPct val="150000"/>
                </a:lnSpc>
                <a:buSzPct val="25000"/>
              </a:pPr>
              <a:endParaRPr lang="en-US" altLang="zh-CN" sz="10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+mn-ea"/>
              </a:endParaRPr>
            </a:p>
            <a:p>
              <a:pPr>
                <a:lnSpc>
                  <a:spcPts val="2400"/>
                </a:lnSpc>
                <a:buSzPct val="25000"/>
              </a:pPr>
              <a:r>
                <a:rPr lang="en-US" altLang="zh-CN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+mn-ea"/>
                </a:rPr>
                <a:t>Learn more about the official </a:t>
              </a:r>
              <a:r>
                <a:rPr lang="en-US" altLang="zh-CN" b="1" dirty="0">
                  <a:solidFill>
                    <a:srgbClr val="C00000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+mn-ea"/>
                </a:rPr>
                <a:t>training system and instructor</a:t>
              </a:r>
            </a:p>
            <a:p>
              <a:pPr>
                <a:lnSpc>
                  <a:spcPct val="150000"/>
                </a:lnSpc>
                <a:buSzPct val="25000"/>
              </a:pPr>
              <a:r>
                <a:rPr lang="en-US" altLang="zh-CN" sz="1200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+mn-ea"/>
                </a:rPr>
                <a:t>Training Introduction and Training Instructor sections help you know </a:t>
              </a:r>
              <a:r>
                <a:rPr lang="en-US" altLang="zh-CN" sz="1200" dirty="0" err="1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+mn-ea"/>
                </a:rPr>
                <a:t>Ruijie</a:t>
              </a:r>
              <a:r>
                <a:rPr lang="en-US" altLang="zh-CN" sz="1200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+mn-ea"/>
                </a:rPr>
                <a:t> training.</a:t>
              </a:r>
              <a:endParaRPr lang="en-US" altLang="zh-CN" sz="12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+mn-ea"/>
              </a:endParaRPr>
            </a:p>
          </p:txBody>
        </p:sp>
        <p:sp>
          <p:nvSpPr>
            <p:cNvPr id="25" name="椭圆 24"/>
            <p:cNvSpPr/>
            <p:nvPr/>
          </p:nvSpPr>
          <p:spPr>
            <a:xfrm>
              <a:off x="879192" y="2229201"/>
              <a:ext cx="177636" cy="134774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26" name="椭圆 25"/>
            <p:cNvSpPr/>
            <p:nvPr/>
          </p:nvSpPr>
          <p:spPr>
            <a:xfrm>
              <a:off x="879192" y="3603824"/>
              <a:ext cx="177636" cy="134774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</p:grpSp>
      <p:sp>
        <p:nvSpPr>
          <p:cNvPr id="27" name="文本框 26">
            <a:hlinkClick r:id="rId6"/>
          </p:cNvPr>
          <p:cNvSpPr txBox="1"/>
          <p:nvPr/>
        </p:nvSpPr>
        <p:spPr>
          <a:xfrm>
            <a:off x="767865" y="5379773"/>
            <a:ext cx="105599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SzPct val="25000"/>
            </a:pPr>
            <a:r>
              <a:rPr lang="en-US" altLang="zh-CN" sz="1200" u="sng" dirty="0">
                <a:solidFill>
                  <a:srgbClr val="FF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hlinkClick r:id="rId7"/>
              </a:rPr>
              <a:t>https://www.ruijienetworks.com/support/training</a:t>
            </a:r>
            <a:endParaRPr lang="en-US" altLang="zh-CN" sz="1200" u="sng" dirty="0">
              <a:solidFill>
                <a:srgbClr val="FF0000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grpSp>
        <p:nvGrpSpPr>
          <p:cNvPr id="28" name="组合 27"/>
          <p:cNvGrpSpPr/>
          <p:nvPr/>
        </p:nvGrpSpPr>
        <p:grpSpPr>
          <a:xfrm>
            <a:off x="4868545" y="1591310"/>
            <a:ext cx="6136640" cy="3533140"/>
            <a:chOff x="5401730" y="1501099"/>
            <a:chExt cx="5760149" cy="3211118"/>
          </a:xfrm>
        </p:grpSpPr>
        <p:sp>
          <p:nvSpPr>
            <p:cNvPr id="29" name="圆角矩形 9"/>
            <p:cNvSpPr/>
            <p:nvPr/>
          </p:nvSpPr>
          <p:spPr>
            <a:xfrm>
              <a:off x="5401732" y="1501099"/>
              <a:ext cx="5760147" cy="3211118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>
              <a:noFill/>
            </a:ln>
            <a:effectLst>
              <a:outerShdw blurRad="101600" dir="2700000" sx="101000" sy="101000" algn="tl" rotWithShape="0">
                <a:prstClr val="black">
                  <a:alpha val="1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 dirty="0">
                <a:latin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pic>
          <p:nvPicPr>
            <p:cNvPr id="30" name="图片 29"/>
            <p:cNvPicPr>
              <a:picLocks noChangeAspect="1"/>
            </p:cNvPicPr>
            <p:nvPr/>
          </p:nvPicPr>
          <p:blipFill rotWithShape="1">
            <a:blip r:embed="rId8"/>
            <a:srcRect l="23073" r="24118"/>
            <a:stretch>
              <a:fillRect/>
            </a:stretch>
          </p:blipFill>
          <p:spPr>
            <a:xfrm>
              <a:off x="5401730" y="3163041"/>
              <a:ext cx="3084325" cy="1549175"/>
            </a:xfrm>
            <a:prstGeom prst="rect">
              <a:avLst/>
            </a:prstGeom>
          </p:spPr>
        </p:pic>
      </p:grpSp>
      <p:pic>
        <p:nvPicPr>
          <p:cNvPr id="31" name="图片 30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5039360" y="1925320"/>
            <a:ext cx="3194685" cy="1698625"/>
          </a:xfrm>
          <a:prstGeom prst="rect">
            <a:avLst/>
          </a:prstGeom>
        </p:spPr>
      </p:pic>
      <p:pic>
        <p:nvPicPr>
          <p:cNvPr id="32" name="图片 31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8603656" y="2052050"/>
            <a:ext cx="2028190" cy="824230"/>
          </a:xfrm>
          <a:prstGeom prst="rect">
            <a:avLst/>
          </a:prstGeom>
        </p:spPr>
      </p:pic>
      <p:pic>
        <p:nvPicPr>
          <p:cNvPr id="33" name="图片 32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8605561" y="3024063"/>
            <a:ext cx="2026285" cy="837565"/>
          </a:xfrm>
          <a:prstGeom prst="rect">
            <a:avLst/>
          </a:prstGeom>
        </p:spPr>
      </p:pic>
      <p:pic>
        <p:nvPicPr>
          <p:cNvPr id="34" name="图片 33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8603656" y="4021971"/>
            <a:ext cx="2028190" cy="82804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9"/>
          <p:cNvSpPr>
            <a:spLocks noGrp="1"/>
          </p:cNvSpPr>
          <p:nvPr>
            <p:ph type="ctrTitle"/>
          </p:nvPr>
        </p:nvSpPr>
        <p:spPr>
          <a:xfrm>
            <a:off x="394335" y="2736031"/>
            <a:ext cx="9541579" cy="825500"/>
          </a:xfrm>
        </p:spPr>
        <p:txBody>
          <a:bodyPr/>
          <a:lstStyle/>
          <a:p>
            <a:pPr marL="0" indent="0"/>
            <a:r>
              <a:rPr lang="en-US" altLang="zh-CN" sz="4000" b="1" dirty="0">
                <a:latin typeface="Noto Sans Medium" panose="020B0602040504020204" pitchFamily="34" charset="0"/>
                <a:ea typeface="Noto Sans Medium" panose="020B0602040504020204" pitchFamily="34" charset="0"/>
                <a:cs typeface="Noto Sans Medium" panose="020B0602040504020204" pitchFamily="34" charset="0"/>
              </a:rPr>
              <a:t>Ruijie Warranty and </a:t>
            </a:r>
            <a:br>
              <a:rPr lang="en-US" altLang="zh-CN" sz="4000" b="1" dirty="0">
                <a:latin typeface="Noto Sans Medium" panose="020B0602040504020204" pitchFamily="34" charset="0"/>
                <a:ea typeface="Noto Sans Medium" panose="020B0602040504020204" pitchFamily="34" charset="0"/>
                <a:cs typeface="Noto Sans Medium" panose="020B0602040504020204" pitchFamily="34" charset="0"/>
              </a:rPr>
            </a:br>
            <a:r>
              <a:rPr lang="en-US" altLang="zh-CN" sz="4000" b="1" dirty="0">
                <a:latin typeface="Noto Sans Medium" panose="020B0602040504020204" pitchFamily="34" charset="0"/>
                <a:ea typeface="Noto Sans Medium" panose="020B0602040504020204" pitchFamily="34" charset="0"/>
                <a:cs typeface="Noto Sans Medium" panose="020B0602040504020204" pitchFamily="34" charset="0"/>
              </a:rPr>
              <a:t>R-Care+ Service</a:t>
            </a:r>
            <a:endParaRPr lang="en-US" altLang="zh-CN" sz="4000" b="1" dirty="0">
              <a:solidFill>
                <a:srgbClr val="FFFFFF"/>
              </a:solidFill>
              <a:latin typeface="Noto Sans Medium" panose="020B0602040504020204" pitchFamily="34" charset="0"/>
              <a:ea typeface="Noto Sans Medium" panose="020B0602040504020204" pitchFamily="34" charset="0"/>
              <a:cs typeface="Noto Sans Medium" panose="020B0602040504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286842" y="1007839"/>
            <a:ext cx="10726812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15929">
              <a:spcBef>
                <a:spcPts val="1200"/>
              </a:spcBef>
              <a:defRPr/>
            </a:pPr>
            <a:r>
              <a:rPr lang="en-US" altLang="zh-CN" sz="14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1. For </a:t>
            </a:r>
            <a:r>
              <a:rPr lang="en-US" altLang="zh-CN" sz="1400" b="1" dirty="0" err="1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eyee</a:t>
            </a:r>
            <a:r>
              <a:rPr lang="en-US" altLang="zh-CN" sz="1400" b="1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and Enterprise Distribution entry-level products purchased from Ruijie after February 1st, 2024, </a:t>
            </a:r>
            <a:r>
              <a:rPr lang="en-US" altLang="zh-CN" sz="14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now they feature a unified RMA support service, offering One-to-One Replacement Service.</a:t>
            </a:r>
          </a:p>
          <a:p>
            <a:pPr defTabSz="815929">
              <a:spcBef>
                <a:spcPts val="1200"/>
              </a:spcBef>
              <a:defRPr/>
            </a:pPr>
            <a:r>
              <a:rPr lang="en-US" altLang="zh-CN" sz="14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2. For</a:t>
            </a:r>
            <a:r>
              <a:rPr lang="en-US" altLang="zh-CN" sz="1400" b="1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Enterprise Distribution middle and high-end products purchased from Ruijie after February 1st, 2024</a:t>
            </a:r>
            <a:r>
              <a:rPr lang="en-US" altLang="zh-CN" sz="14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, Ruijie will provide a Return For Repair service to customers.</a:t>
            </a:r>
          </a:p>
        </p:txBody>
      </p:sp>
      <p:sp>
        <p:nvSpPr>
          <p:cNvPr id="6" name="矩形 5"/>
          <p:cNvSpPr/>
          <p:nvPr/>
        </p:nvSpPr>
        <p:spPr>
          <a:xfrm>
            <a:off x="347499" y="5184303"/>
            <a:ext cx="1060549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63925">
              <a:defRPr/>
            </a:pPr>
            <a:r>
              <a:rPr lang="en-US" altLang="zh-CN" sz="1100" b="1" i="1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Note</a:t>
            </a:r>
            <a:r>
              <a:rPr lang="zh-CN" altLang="en-US" sz="1100" dirty="0">
                <a:solidFill>
                  <a:prstClr val="black"/>
                </a:solidFill>
                <a:latin typeface="Noto Sans" panose="020B0502040504020204" pitchFamily="34" charset="0"/>
                <a:ea typeface="微软雅黑"/>
                <a:cs typeface="Noto Sans" panose="020B0502040504020204" pitchFamily="34" charset="0"/>
              </a:rPr>
              <a:t>：</a:t>
            </a:r>
            <a:r>
              <a:rPr lang="en-US" altLang="zh-CN" sz="1100" i="1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uijie provides local spare parts warehouse delivery services in UAE, Saudi Arabia, Türkiye, Thailand, Indonesia, and Vietnam to further improve repair efficiency, and more countries/regions will update continually.</a:t>
            </a:r>
            <a:endParaRPr lang="en-US" altLang="zh-CN" sz="1100" dirty="0">
              <a:solidFill>
                <a:prstClr val="black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2046227" y="5832375"/>
            <a:ext cx="720803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63925">
              <a:defRPr/>
            </a:pPr>
            <a:r>
              <a:rPr lang="en-US" altLang="zh-CN" sz="1200" i="1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lease kindly refer to the following website for more service policies:</a:t>
            </a:r>
          </a:p>
          <a:p>
            <a:pPr algn="ctr" defTabSz="863925">
              <a:defRPr/>
            </a:pPr>
            <a:r>
              <a:rPr lang="en-US" altLang="zh-CN" sz="1200" u="sng" dirty="0">
                <a:solidFill>
                  <a:srgbClr val="FF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hlinkClick r:id="rId2"/>
              </a:rPr>
              <a:t>https://www.ruijienetworks.com/support/servicepolicy</a:t>
            </a:r>
            <a:endParaRPr lang="en-US" altLang="zh-CN" sz="1200" u="sng" dirty="0">
              <a:solidFill>
                <a:srgbClr val="FF0000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graphicFrame>
        <p:nvGraphicFramePr>
          <p:cNvPr id="8" name="表格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1719919"/>
              </p:ext>
            </p:extLst>
          </p:nvPr>
        </p:nvGraphicFramePr>
        <p:xfrm>
          <a:off x="402964" y="2145043"/>
          <a:ext cx="10527725" cy="2859056"/>
        </p:xfrm>
        <a:graphic>
          <a:graphicData uri="http://schemas.openxmlformats.org/drawingml/2006/table">
            <a:tbl>
              <a:tblPr/>
              <a:tblGrid>
                <a:gridCol w="102740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79757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0982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0206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0102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030686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030686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1328446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</a:tblGrid>
              <a:tr h="454412">
                <a:tc rowSpan="2">
                  <a:txBody>
                    <a:bodyPr/>
                    <a:lstStyle/>
                    <a:p>
                      <a:pPr algn="ctr" fontAlgn="t"/>
                      <a:r>
                        <a:rPr lang="en-US" sz="1100" b="1" dirty="0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Products Lines</a:t>
                      </a: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en-US" sz="1100" b="1" dirty="0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Product Series</a:t>
                      </a: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00" b="1" kern="0" dirty="0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Hardware Support</a:t>
                      </a:r>
                      <a:endParaRPr lang="zh-CN" sz="1000" b="1" kern="100" dirty="0">
                        <a:solidFill>
                          <a:schemeClr val="bg1"/>
                        </a:solidFill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60873" marR="6087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B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B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00" b="1" kern="0" dirty="0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Software support (OS / Firmware)</a:t>
                      </a:r>
                      <a:endParaRPr lang="zh-CN" sz="1000" b="1" kern="100" dirty="0">
                        <a:solidFill>
                          <a:schemeClr val="bg1"/>
                        </a:solidFill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60873" marR="6087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00" b="1" kern="0" dirty="0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Remote Technical Support</a:t>
                      </a:r>
                      <a:endParaRPr lang="zh-CN" sz="1000" b="1" kern="100" dirty="0">
                        <a:solidFill>
                          <a:schemeClr val="bg1"/>
                        </a:solidFill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60873" marR="6087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B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54412">
                <a:tc vMerge="1">
                  <a:txBody>
                    <a:bodyPr/>
                    <a:lstStyle/>
                    <a:p>
                      <a:pPr fontAlgn="t"/>
                      <a:endParaRPr lang="en-US" sz="1200" dirty="0">
                        <a:effectLst/>
                      </a:endParaRPr>
                    </a:p>
                  </a:txBody>
                  <a:tcPr marL="37721" marR="37721" marT="37721" marB="3772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BEF"/>
                    </a:solidFill>
                  </a:tcPr>
                </a:tc>
                <a:tc vMerge="1">
                  <a:txBody>
                    <a:bodyPr/>
                    <a:lstStyle/>
                    <a:p>
                      <a:pPr fontAlgn="t"/>
                      <a:endParaRPr lang="en-US" sz="1200" dirty="0">
                        <a:effectLst/>
                      </a:endParaRPr>
                    </a:p>
                  </a:txBody>
                  <a:tcPr marL="37721" marR="37721" marT="37721" marB="3772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BE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00" b="1" kern="0" dirty="0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Warranty Duration</a:t>
                      </a:r>
                      <a:endParaRPr lang="zh-CN" sz="1000" b="1" kern="100" dirty="0">
                        <a:solidFill>
                          <a:schemeClr val="bg1"/>
                        </a:solidFill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60873" marR="6087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00" b="1" kern="0" dirty="0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Return for Repair (RFR)</a:t>
                      </a:r>
                      <a:r>
                        <a:rPr lang="en-US" sz="1000" b="1" kern="0" baseline="30000" dirty="0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 </a:t>
                      </a:r>
                      <a:endParaRPr lang="zh-CN" sz="1000" b="1" kern="100" dirty="0">
                        <a:solidFill>
                          <a:schemeClr val="bg1"/>
                        </a:solidFill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60873" marR="6087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00" b="1" kern="0" dirty="0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One-to-One Replacement </a:t>
                      </a:r>
                      <a:endParaRPr lang="zh-CN" sz="1000" b="1" kern="100" dirty="0">
                        <a:solidFill>
                          <a:schemeClr val="bg1"/>
                        </a:solidFill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60873" marR="6087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00" b="1" kern="0" dirty="0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Software Updates</a:t>
                      </a:r>
                      <a:endParaRPr lang="zh-CN" sz="1000" b="1" kern="100" dirty="0">
                        <a:solidFill>
                          <a:schemeClr val="bg1"/>
                        </a:solidFill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60873" marR="6087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00" b="1" kern="0" dirty="0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TAC Support (9*5 </a:t>
                      </a:r>
                      <a:r>
                        <a:rPr lang="en-US" altLang="zh-CN" sz="1000" b="1" kern="0" dirty="0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local time</a:t>
                      </a:r>
                      <a:r>
                        <a:rPr lang="en-US" sz="1000" b="1" kern="0" dirty="0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)</a:t>
                      </a:r>
                      <a:r>
                        <a:rPr lang="en-US" sz="1000" b="1" kern="0" baseline="30000" dirty="0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 </a:t>
                      </a:r>
                      <a:endParaRPr lang="zh-CN" sz="1000" b="1" kern="100" dirty="0">
                        <a:solidFill>
                          <a:schemeClr val="bg1"/>
                        </a:solidFill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60873" marR="6087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00" b="1" kern="0" dirty="0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RITA Online  Self-Services Support (24x7 Online)</a:t>
                      </a:r>
                      <a:r>
                        <a:rPr lang="en-US" sz="1000" b="1" kern="0" baseline="30000" dirty="0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 </a:t>
                      </a:r>
                      <a:endParaRPr lang="zh-CN" sz="1000" b="1" kern="100" dirty="0">
                        <a:solidFill>
                          <a:schemeClr val="bg1"/>
                        </a:solidFill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60873" marR="60873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19636">
                <a:tc rowSpan="2">
                  <a:txBody>
                    <a:bodyPr/>
                    <a:lstStyle/>
                    <a:p>
                      <a:pPr fontAlgn="t"/>
                      <a:r>
                        <a:rPr lang="en-US" sz="1000" b="1" dirty="0" err="1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Reyee</a:t>
                      </a:r>
                      <a:r>
                        <a:rPr lang="en-US" sz="1000" b="1" dirty="0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 &amp; Consumer</a:t>
                      </a: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sz="1000" b="0" dirty="0" err="1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Reyee</a:t>
                      </a:r>
                      <a:r>
                        <a:rPr lang="zh-CN" altLang="en-US" sz="1000" b="0" dirty="0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cs typeface="Noto Sans" panose="020B0502040504020204" pitchFamily="34" charset="0"/>
                        </a:rPr>
                        <a:t>（</a:t>
                      </a:r>
                      <a:r>
                        <a:rPr lang="en-US" altLang="zh-CN" sz="1000" b="0" dirty="0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NBS&amp;NIS Series</a:t>
                      </a:r>
                      <a:r>
                        <a:rPr lang="zh-CN" altLang="en-US" sz="1000" b="0" dirty="0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cs typeface="Noto Sans" panose="020B0502040504020204" pitchFamily="34" charset="0"/>
                        </a:rPr>
                        <a:t>）</a:t>
                      </a:r>
                      <a:endParaRPr lang="en-US" sz="1000" b="0" dirty="0">
                        <a:solidFill>
                          <a:schemeClr val="bg1"/>
                        </a:solidFill>
                        <a:effectLst/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1100" b="0" kern="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5 Years</a:t>
                      </a:r>
                      <a:endParaRPr lang="zh-CN" altLang="zh-CN" sz="1100" b="0" kern="100" dirty="0"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b="0" kern="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N/A</a:t>
                      </a:r>
                      <a:endParaRPr lang="zh-CN" sz="1100" b="0" kern="100" dirty="0"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60873" marR="60873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b="0" kern="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√</a:t>
                      </a:r>
                      <a:endParaRPr lang="zh-CN" sz="1100" b="0" kern="100" dirty="0"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60873" marR="60873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1100" b="0" kern="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√</a:t>
                      </a:r>
                      <a:endParaRPr lang="zh-CN" altLang="zh-CN" sz="1100" b="0" kern="100" dirty="0"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1100" b="0" kern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√</a:t>
                      </a:r>
                      <a:endParaRPr lang="zh-CN" altLang="zh-CN" sz="1100" b="0" kern="100" dirty="0"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1100" b="0" kern="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√</a:t>
                      </a:r>
                      <a:endParaRPr lang="zh-CN" altLang="zh-CN" sz="1100" b="0" kern="100" dirty="0"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19636">
                <a:tc vMerge="1">
                  <a:txBody>
                    <a:bodyPr/>
                    <a:lstStyle/>
                    <a:p>
                      <a:pPr fontAlgn="t"/>
                      <a:endParaRPr lang="en-US" sz="1200" b="0" dirty="0">
                        <a:solidFill>
                          <a:schemeClr val="bg1"/>
                        </a:solidFill>
                        <a:effectLst/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37721" marR="37721" marT="37721" marB="3772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sz="1000" b="0" dirty="0" err="1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Reyee</a:t>
                      </a:r>
                      <a:r>
                        <a:rPr lang="en-US" sz="1000" b="0" baseline="0" dirty="0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 and Home Wi-Fi Series</a:t>
                      </a:r>
                      <a:endParaRPr lang="en-US" sz="1000" b="0" dirty="0">
                        <a:solidFill>
                          <a:schemeClr val="bg1"/>
                        </a:solidFill>
                        <a:effectLst/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1100" b="0" kern="10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3 Years</a:t>
                      </a:r>
                      <a:endParaRPr lang="zh-CN" altLang="zh-CN" sz="1100" b="0" kern="100" dirty="0"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63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N/A</a:t>
                      </a:r>
                      <a:endParaRPr lang="zh-CN" altLang="en-US" sz="1100" b="0" kern="100" dirty="0"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60873" marR="60873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63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√</a:t>
                      </a:r>
                      <a:endParaRPr lang="zh-CN" altLang="en-US" sz="1100" b="0" kern="100" dirty="0"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60873" marR="60873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63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b="0" kern="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√</a:t>
                      </a:r>
                      <a:endParaRPr lang="zh-CN" altLang="zh-CN" sz="1100" b="0" kern="100" dirty="0"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1100" b="0" kern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√</a:t>
                      </a:r>
                      <a:endParaRPr lang="zh-CN" altLang="zh-CN" sz="1100" b="0" kern="100" dirty="0"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1100" b="0" kern="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√</a:t>
                      </a:r>
                      <a:endParaRPr lang="zh-CN" altLang="zh-CN" sz="1100" b="0" kern="100" dirty="0"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19636">
                <a:tc rowSpan="3">
                  <a:txBody>
                    <a:bodyPr/>
                    <a:lstStyle/>
                    <a:p>
                      <a:pPr fontAlgn="ctr"/>
                      <a:r>
                        <a:rPr lang="en-US" sz="1000" b="1" dirty="0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Enterprise entry-level products</a:t>
                      </a: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636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dirty="0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S2915-L Series</a:t>
                      </a:r>
                      <a:r>
                        <a:rPr lang="en-US" altLang="zh-CN" sz="1000" b="0" baseline="0" dirty="0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 and </a:t>
                      </a:r>
                      <a:r>
                        <a:rPr lang="en-US" sz="1000" b="0" dirty="0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CS83 Series</a:t>
                      </a: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100" b="0" kern="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3 Years </a:t>
                      </a:r>
                      <a:endParaRPr lang="en-US" sz="1100" b="0" dirty="0">
                        <a:effectLst/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b="0" kern="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N/A</a:t>
                      </a:r>
                      <a:endParaRPr lang="zh-CN" sz="1100" b="0" kern="100" dirty="0"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60873" marR="60873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b="0" kern="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√</a:t>
                      </a:r>
                      <a:endParaRPr lang="zh-CN" sz="1100" b="0" kern="100" dirty="0"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60873" marR="60873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1100" b="0" kern="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√</a:t>
                      </a:r>
                      <a:endParaRPr lang="zh-CN" altLang="zh-CN" sz="1100" b="0" kern="100" dirty="0"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1100" b="0" kern="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√</a:t>
                      </a:r>
                      <a:endParaRPr lang="zh-CN" altLang="zh-CN" sz="1100" b="0" kern="100" dirty="0"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1100" b="0" kern="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√</a:t>
                      </a:r>
                      <a:endParaRPr lang="zh-CN" altLang="zh-CN" sz="1100" b="0" kern="100" dirty="0"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19636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sz="1000" b="0" dirty="0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AP,</a:t>
                      </a:r>
                      <a:r>
                        <a:rPr lang="en-US" sz="1000" b="0" baseline="0" dirty="0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 </a:t>
                      </a:r>
                      <a:r>
                        <a:rPr lang="en-US" sz="1000" b="0" dirty="0" err="1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PoE</a:t>
                      </a:r>
                      <a:r>
                        <a:rPr lang="en-US" sz="1000" b="0" dirty="0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 Adapter, EG,</a:t>
                      </a:r>
                      <a:r>
                        <a:rPr lang="en-US" sz="1000" b="0" baseline="0" dirty="0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 and Firewall Series</a:t>
                      </a:r>
                      <a:endParaRPr lang="en-US" sz="1000" b="0" dirty="0">
                        <a:solidFill>
                          <a:schemeClr val="bg1"/>
                        </a:solidFill>
                        <a:effectLst/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100" b="0" kern="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3 Years </a:t>
                      </a:r>
                      <a:endParaRPr lang="en-US" sz="1100" b="0" dirty="0">
                        <a:effectLst/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b="0" kern="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N/A</a:t>
                      </a:r>
                      <a:endParaRPr lang="zh-CN" sz="1100" b="0" kern="100" dirty="0"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60873" marR="60873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b="0" kern="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√</a:t>
                      </a:r>
                      <a:endParaRPr lang="zh-CN" sz="1100" b="0" kern="100" dirty="0"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60873" marR="60873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1100" b="0" kern="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√</a:t>
                      </a:r>
                      <a:endParaRPr lang="zh-CN" altLang="zh-CN" sz="1100" b="0" kern="100" dirty="0"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1100" b="0" kern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√</a:t>
                      </a:r>
                      <a:endParaRPr lang="zh-CN" altLang="zh-CN" sz="1100" b="0" kern="100" dirty="0"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1100" b="0" kern="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√</a:t>
                      </a:r>
                      <a:endParaRPr lang="zh-CN" altLang="zh-CN" sz="1100" b="0" kern="100" dirty="0"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19636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sz="1000" b="0" dirty="0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XG, SFP, GBIC Transceiver and cables</a:t>
                      </a: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100" b="0" kern="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3 Years </a:t>
                      </a:r>
                      <a:endParaRPr lang="en-US" sz="1100" b="0" dirty="0">
                        <a:effectLst/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b="0" kern="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N/A</a:t>
                      </a:r>
                      <a:endParaRPr lang="zh-CN" sz="1100" b="0" kern="100" dirty="0"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60873" marR="60873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b="0" kern="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√</a:t>
                      </a:r>
                      <a:endParaRPr lang="zh-CN" sz="1100" b="0" kern="100" dirty="0"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60873" marR="60873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1100" b="0" kern="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√</a:t>
                      </a:r>
                      <a:endParaRPr lang="zh-CN" altLang="zh-CN" sz="1100" b="0" kern="100" dirty="0"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1100" b="0" kern="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√</a:t>
                      </a:r>
                      <a:endParaRPr lang="zh-CN" altLang="zh-CN" sz="1100" b="0" kern="100" dirty="0"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1100" b="0" kern="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√</a:t>
                      </a:r>
                      <a:endParaRPr lang="zh-CN" altLang="zh-CN" sz="1100" b="0" kern="100" dirty="0"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19636">
                <a:tc rowSpan="3">
                  <a:txBody>
                    <a:bodyPr/>
                    <a:lstStyle/>
                    <a:p>
                      <a:pPr fontAlgn="ctr"/>
                      <a:r>
                        <a:rPr lang="en-US" sz="1000" b="1" dirty="0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Enterprise mid and high-end products</a:t>
                      </a: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sz="1000" b="0" dirty="0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CS85/86/88 Series and</a:t>
                      </a:r>
                      <a:r>
                        <a:rPr lang="en-US" sz="1000" b="0" baseline="0" dirty="0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 Data </a:t>
                      </a:r>
                      <a:r>
                        <a:rPr lang="en-US" altLang="zh-CN" sz="1000" b="0" baseline="0" dirty="0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Center Series</a:t>
                      </a:r>
                      <a:endParaRPr lang="en-US" sz="1000" b="0" dirty="0">
                        <a:solidFill>
                          <a:schemeClr val="bg1"/>
                        </a:solidFill>
                        <a:effectLst/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100" b="0" kern="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3 Years </a:t>
                      </a:r>
                      <a:endParaRPr lang="en-US" sz="1100" b="0" dirty="0">
                        <a:effectLst/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b="0" kern="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9x5x15CD-Ship</a:t>
                      </a:r>
                      <a:endParaRPr lang="zh-CN" sz="1100" b="0" kern="100" dirty="0"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60873" marR="60873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1100" b="0" kern="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N/A</a:t>
                      </a:r>
                      <a:endParaRPr lang="zh-CN" sz="1100" b="0" kern="100" dirty="0"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60873" marR="60873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1100" b="0" kern="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√</a:t>
                      </a:r>
                      <a:endParaRPr lang="zh-CN" altLang="zh-CN" sz="1100" b="0" kern="100" dirty="0"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1100" b="0" kern="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√</a:t>
                      </a:r>
                      <a:endParaRPr lang="zh-CN" altLang="zh-CN" sz="1100" b="0" kern="100" dirty="0"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1100" b="0" kern="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√</a:t>
                      </a:r>
                      <a:endParaRPr lang="zh-CN" altLang="zh-CN" sz="1100" b="0" kern="100" dirty="0"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19636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sz="1000" b="0" dirty="0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AC Series</a:t>
                      </a: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100" b="0" kern="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3 Years </a:t>
                      </a:r>
                      <a:endParaRPr lang="en-US" sz="1100" b="0" dirty="0">
                        <a:effectLst/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b="0" kern="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9x5x15CD-Ship</a:t>
                      </a:r>
                      <a:endParaRPr lang="zh-CN" sz="1100" b="0" kern="100" dirty="0"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60873" marR="60873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1100" b="0" kern="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N/A</a:t>
                      </a:r>
                      <a:endParaRPr lang="zh-CN" sz="1100" b="0" kern="100" dirty="0"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60873" marR="60873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1100" b="0" kern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√</a:t>
                      </a:r>
                      <a:endParaRPr lang="zh-CN" altLang="zh-CN" sz="1100" b="0" kern="100" dirty="0"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1100" b="0" kern="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√</a:t>
                      </a:r>
                      <a:endParaRPr lang="zh-CN" altLang="zh-CN" sz="1100" b="0" kern="100" dirty="0"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1100" b="0" kern="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√</a:t>
                      </a:r>
                      <a:endParaRPr lang="zh-CN" altLang="zh-CN" sz="1100" b="0" kern="100" dirty="0"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34776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sz="1000" b="0" dirty="0">
                          <a:solidFill>
                            <a:schemeClr val="bg1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QSFP Transceiver and cables</a:t>
                      </a: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100" b="0" kern="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3 Years </a:t>
                      </a:r>
                      <a:endParaRPr lang="en-US" sz="1100" b="0" dirty="0">
                        <a:effectLst/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100" b="0" kern="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9x5x15CD-Ship</a:t>
                      </a:r>
                      <a:endParaRPr lang="zh-CN" sz="1100" b="0" kern="100" dirty="0"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60873" marR="60873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1100" b="0" kern="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N/A</a:t>
                      </a:r>
                      <a:endParaRPr lang="zh-CN" sz="1100" b="0" kern="100" dirty="0"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60873" marR="60873" marT="0" marB="0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1100" b="0" kern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√</a:t>
                      </a:r>
                      <a:endParaRPr lang="zh-CN" altLang="zh-CN" sz="1100" b="0" kern="100" dirty="0"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1100" b="0" kern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√</a:t>
                      </a:r>
                      <a:endParaRPr lang="zh-CN" altLang="zh-CN" sz="1100" b="0" kern="100" dirty="0"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CN" sz="1100" b="0" kern="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  <a:sym typeface="Arial" panose="020B0604020202020204" pitchFamily="34" charset="0"/>
                        </a:rPr>
                        <a:t>√</a:t>
                      </a:r>
                      <a:endParaRPr lang="zh-CN" altLang="zh-CN" sz="1100" b="0" kern="100" dirty="0">
                        <a:effectLst/>
                        <a:latin typeface="Noto Sans" panose="020B0502040504020204" pitchFamily="34" charset="0"/>
                        <a:ea typeface="微软雅黑" panose="020B0503020204020204" pitchFamily="34" charset="-122"/>
                        <a:cs typeface="Noto Sans" panose="020B0502040504020204" pitchFamily="34" charset="0"/>
                        <a:sym typeface="Arial" panose="020B0604020202020204" pitchFamily="34" charset="0"/>
                      </a:endParaRPr>
                    </a:p>
                  </a:txBody>
                  <a:tcPr marL="37721" marR="37721" marT="37721" marB="37721"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</a:tbl>
          </a:graphicData>
        </a:graphic>
      </p:graphicFrame>
      <p:sp>
        <p:nvSpPr>
          <p:cNvPr id="9" name="文本占位符 2">
            <a:extLst>
              <a:ext uri="{FF2B5EF4-FFF2-40B4-BE49-F238E27FC236}">
                <a16:creationId xmlns:a16="http://schemas.microsoft.com/office/drawing/2014/main" xmlns="" id="{7E817D83-8F41-2437-C5BE-2842526EF96D}"/>
              </a:ext>
            </a:extLst>
          </p:cNvPr>
          <p:cNvSpPr txBox="1">
            <a:spLocks/>
          </p:cNvSpPr>
          <p:nvPr/>
        </p:nvSpPr>
        <p:spPr>
          <a:xfrm>
            <a:off x="285992" y="287759"/>
            <a:ext cx="9892810" cy="376242"/>
          </a:xfrm>
          <a:prstGeom prst="rect">
            <a:avLst/>
          </a:prstGeom>
        </p:spPr>
        <p:txBody>
          <a:bodyPr/>
          <a:lstStyle>
            <a:lvl1pPr marL="0" indent="0" algn="l" defTabSz="863600" rtl="0" eaLnBrk="1" latinLnBrk="0" hangingPunct="1">
              <a:lnSpc>
                <a:spcPct val="120000"/>
              </a:lnSpc>
              <a:spcBef>
                <a:spcPts val="945"/>
              </a:spcBef>
              <a:buFont typeface="Arial" panose="020B0604020202020204" pitchFamily="34" charset="0"/>
              <a:buNone/>
              <a:defRPr sz="1200" kern="1200">
                <a:solidFill>
                  <a:srgbClr val="50555A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431800" indent="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None/>
              <a:defRPr sz="2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1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19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437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8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86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04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22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800" dirty="0">
                <a:solidFill>
                  <a:schemeClr val="tx1"/>
                </a:solidFill>
                <a:latin typeface="Noto Sans Black" panose="020B0A02040504020204"/>
              </a:rPr>
              <a:t>Product Warranty - </a:t>
            </a:r>
            <a:r>
              <a:rPr lang="en-US" altLang="zh-CN" sz="2800" dirty="0">
                <a:solidFill>
                  <a:srgbClr val="043CC1"/>
                </a:solidFill>
                <a:latin typeface="Noto Sans Black" panose="020B0A02040504020204"/>
              </a:rPr>
              <a:t>Global</a:t>
            </a:r>
            <a:r>
              <a:rPr lang="en-US" altLang="zh-CN" sz="2800" dirty="0">
                <a:latin typeface="Noto Sans Black" panose="020B0A02040504020204"/>
              </a:rPr>
              <a:t> </a:t>
            </a:r>
            <a:r>
              <a:rPr lang="en-US" altLang="zh-CN" sz="2800" dirty="0">
                <a:solidFill>
                  <a:schemeClr val="tx1"/>
                </a:solidFill>
                <a:latin typeface="Noto Sans Black" panose="020B0A02040504020204"/>
              </a:rPr>
              <a:t>Services Policy Summary</a:t>
            </a:r>
            <a:endParaRPr lang="zh-CN" altLang="en-US" sz="2800" dirty="0">
              <a:solidFill>
                <a:schemeClr val="tx1"/>
              </a:solidFill>
              <a:latin typeface="Noto Sans Black" panose="020B0A02040504020204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6">
            <a:extLst>
              <a:ext uri="{FF2B5EF4-FFF2-40B4-BE49-F238E27FC236}">
                <a16:creationId xmlns:a16="http://schemas.microsoft.com/office/drawing/2014/main" xmlns="" id="{3A032B4E-292C-B38E-60BE-122776635880}"/>
              </a:ext>
            </a:extLst>
          </p:cNvPr>
          <p:cNvSpPr txBox="1">
            <a:spLocks/>
          </p:cNvSpPr>
          <p:nvPr/>
        </p:nvSpPr>
        <p:spPr>
          <a:xfrm>
            <a:off x="495029" y="-1330990"/>
            <a:ext cx="10132693" cy="376242"/>
          </a:xfrm>
          <a:prstGeom prst="rect">
            <a:avLst/>
          </a:prstGeom>
        </p:spPr>
        <p:txBody>
          <a:bodyPr/>
          <a:lstStyle>
            <a:lvl1pPr marL="0" indent="0" algn="l" defTabSz="863600" rtl="0" eaLnBrk="1" latinLnBrk="0" hangingPunct="1">
              <a:lnSpc>
                <a:spcPct val="120000"/>
              </a:lnSpc>
              <a:spcBef>
                <a:spcPts val="945"/>
              </a:spcBef>
              <a:buFont typeface="Arial" panose="020B0604020202020204" pitchFamily="34" charset="0"/>
              <a:buNone/>
              <a:defRPr sz="1200" kern="1200">
                <a:solidFill>
                  <a:srgbClr val="50555A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431800" indent="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None/>
              <a:defRPr sz="2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1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19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437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8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86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04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22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sz="2800" dirty="0">
              <a:solidFill>
                <a:srgbClr val="043CC1"/>
              </a:solidFill>
              <a:latin typeface="Noto Sans Black" panose="020B0A02040504020204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495029" y="1007839"/>
            <a:ext cx="10723219" cy="2169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63925">
              <a:lnSpc>
                <a:spcPct val="150000"/>
              </a:lnSpc>
              <a:defRPr/>
            </a:pPr>
            <a:r>
              <a:rPr lang="en-US" altLang="zh-CN" sz="1600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Free Warranty RMA upgrade policy for </a:t>
            </a:r>
            <a:r>
              <a:rPr lang="en-US" altLang="zh-CN" b="1" dirty="0">
                <a:solidFill>
                  <a:schemeClr val="accent1">
                    <a:lumMod val="75000"/>
                  </a:scheme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6 Early Bird Countries </a:t>
            </a:r>
            <a:r>
              <a:rPr lang="en-US" altLang="zh-CN" sz="1600" b="1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Gold and Silver Channel Partners</a:t>
            </a:r>
            <a:r>
              <a:rPr lang="en-US" altLang="zh-CN" sz="1600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.</a:t>
            </a:r>
          </a:p>
          <a:p>
            <a:pPr marL="228600" indent="-228600" defTabSz="863925">
              <a:lnSpc>
                <a:spcPct val="150000"/>
              </a:lnSpc>
              <a:buAutoNum type="arabicPeriod"/>
              <a:defRPr/>
            </a:pPr>
            <a:r>
              <a:rPr lang="en-US" altLang="zh-CN" sz="1400" b="1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Upgrade policy Period: </a:t>
            </a:r>
            <a:r>
              <a:rPr lang="en-US" altLang="zh-CN" sz="1400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tarts from April 1st, 2024 to December 31st, 2024</a:t>
            </a:r>
            <a:r>
              <a:rPr lang="en-US" altLang="zh-CN" sz="1400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. Ruijie provides free upgrades </a:t>
            </a:r>
            <a:r>
              <a:rPr lang="en-US" altLang="zh-CN" sz="1400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within the basic warranty period.</a:t>
            </a:r>
          </a:p>
          <a:p>
            <a:pPr marL="228600" indent="-228600" defTabSz="863925">
              <a:lnSpc>
                <a:spcPct val="150000"/>
              </a:lnSpc>
              <a:buAutoNum type="arabicPeriod"/>
              <a:defRPr/>
            </a:pPr>
            <a:r>
              <a:rPr lang="en-US" altLang="zh-CN" sz="1400" b="1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ustomers</a:t>
            </a:r>
            <a:r>
              <a:rPr lang="en-US" altLang="zh-CN" sz="1400" b="1" dirty="0">
                <a:solidFill>
                  <a:prstClr val="black"/>
                </a:solidFill>
                <a:latin typeface="Noto Sans" panose="020B0502040504020204" pitchFamily="34" charset="0"/>
                <a:ea typeface="微软雅黑"/>
                <a:cs typeface="Noto Sans" panose="020B0502040504020204" pitchFamily="34" charset="0"/>
              </a:rPr>
              <a:t>: </a:t>
            </a:r>
            <a:r>
              <a:rPr lang="en-US" altLang="zh-CN" sz="14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Gold and Silver Channel Partners</a:t>
            </a:r>
          </a:p>
          <a:p>
            <a:pPr marL="228600" indent="-228600" defTabSz="863925">
              <a:lnSpc>
                <a:spcPct val="150000"/>
              </a:lnSpc>
              <a:buAutoNum type="arabicPeriod"/>
              <a:defRPr/>
            </a:pPr>
            <a:r>
              <a:rPr lang="en-US" altLang="zh-CN" sz="1400" b="1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ountry/Region: </a:t>
            </a:r>
            <a:r>
              <a:rPr lang="en-US" altLang="zh-CN" sz="14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UAE, Saudi Arabia, Türkiye, Thailand, Indonesia and Vietnam</a:t>
            </a:r>
          </a:p>
          <a:p>
            <a:pPr marL="228600" indent="-228600" defTabSz="863925">
              <a:lnSpc>
                <a:spcPct val="150000"/>
              </a:lnSpc>
              <a:buAutoNum type="arabicPeriod"/>
              <a:defRPr/>
            </a:pPr>
            <a:r>
              <a:rPr lang="en-US" altLang="zh-CN" sz="1400" b="1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vailable Products</a:t>
            </a:r>
            <a:r>
              <a:rPr lang="en-US" altLang="zh-CN" sz="1400" b="1" dirty="0">
                <a:solidFill>
                  <a:prstClr val="black"/>
                </a:solidFill>
                <a:latin typeface="Noto Sans" panose="020B0502040504020204" pitchFamily="34" charset="0"/>
                <a:ea typeface="微软雅黑"/>
                <a:cs typeface="Noto Sans" panose="020B0502040504020204" pitchFamily="34" charset="0"/>
              </a:rPr>
              <a:t>: </a:t>
            </a:r>
            <a:r>
              <a:rPr lang="en-US" altLang="zh-CN" sz="1400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uijie Enterprise Distribution mid and high-end products which are sold-out by VAD in 2024. </a:t>
            </a:r>
          </a:p>
        </p:txBody>
      </p:sp>
      <p:sp>
        <p:nvSpPr>
          <p:cNvPr id="5" name="矩形 4"/>
          <p:cNvSpPr/>
          <p:nvPr/>
        </p:nvSpPr>
        <p:spPr>
          <a:xfrm>
            <a:off x="508275" y="4788135"/>
            <a:ext cx="8647902" cy="7042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63925">
              <a:lnSpc>
                <a:spcPct val="150000"/>
              </a:lnSpc>
              <a:defRPr/>
            </a:pPr>
            <a:r>
              <a:rPr lang="en-US" altLang="zh-CN" sz="1400" b="1" i="1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Note</a:t>
            </a:r>
            <a:r>
              <a:rPr lang="en-US" altLang="zh-CN" sz="1400" i="1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: NBD-Shipment=Next Business Day shipment, no committed delivery SLA; </a:t>
            </a:r>
          </a:p>
          <a:p>
            <a:pPr defTabSz="863925">
              <a:lnSpc>
                <a:spcPct val="150000"/>
              </a:lnSpc>
              <a:defRPr/>
            </a:pPr>
            <a:r>
              <a:rPr lang="en-US" altLang="zh-CN" sz="1400" i="1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How to obtain warranty RMA upgrades service, please contact the Ruijie post-sales team or TAC team.</a:t>
            </a:r>
          </a:p>
        </p:txBody>
      </p:sp>
      <p:graphicFrame>
        <p:nvGraphicFramePr>
          <p:cNvPr id="6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4244929"/>
              </p:ext>
            </p:extLst>
          </p:nvPr>
        </p:nvGraphicFramePr>
        <p:xfrm>
          <a:off x="574874" y="3177664"/>
          <a:ext cx="10421688" cy="1574591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61278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34983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45907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75005">
                <a:tc>
                  <a:txBody>
                    <a:bodyPr/>
                    <a:lstStyle/>
                    <a:p>
                      <a:r>
                        <a:rPr lang="en-US" altLang="zh-CN" sz="1400" dirty="0"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Products Lines</a:t>
                      </a:r>
                      <a:endParaRPr lang="zh-CN" altLang="en-US" sz="1400" dirty="0">
                        <a:latin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F96C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863600" rtl="0" eaLnBrk="1" fontAlgn="t" latinLnBrk="0" hangingPunct="1"/>
                      <a:r>
                        <a:rPr lang="en-US" sz="1400" b="1" kern="1200" dirty="0">
                          <a:solidFill>
                            <a:schemeClr val="lt1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RMA Policy (Before the upgrade)</a:t>
                      </a:r>
                    </a:p>
                  </a:txBody>
                  <a:tcPr marL="50800" marR="50800" marT="50800" marB="508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F96C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863600" rtl="0" eaLnBrk="1" fontAlgn="t" latinLnBrk="0" hangingPunct="1"/>
                      <a:r>
                        <a:rPr lang="en-US" sz="1400" b="1" kern="1200" dirty="0">
                          <a:solidFill>
                            <a:schemeClr val="lt1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**Free Warranty RMA Upgrade Policy</a:t>
                      </a:r>
                    </a:p>
                  </a:txBody>
                  <a:tcPr marL="50800" marR="50800" marT="50800" marB="508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F96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40780">
                <a:tc>
                  <a:txBody>
                    <a:bodyPr/>
                    <a:lstStyle/>
                    <a:p>
                      <a:r>
                        <a:rPr lang="en-US" altLang="zh-CN" sz="1400" b="1" dirty="0"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Enterprise entry-level products</a:t>
                      </a:r>
                      <a:endParaRPr lang="zh-CN" altLang="en-US" sz="1400" b="1" dirty="0">
                        <a:latin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63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One-to-One Replacement Service</a:t>
                      </a:r>
                    </a:p>
                    <a:p>
                      <a:pPr marL="0" marR="0" lvl="0" indent="0" algn="l" defTabSz="863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i="0" dirty="0"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*</a:t>
                      </a:r>
                      <a:r>
                        <a:rPr lang="en-US" altLang="zh-CN" sz="1000" i="1" dirty="0"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By</a:t>
                      </a:r>
                      <a:r>
                        <a:rPr lang="en-US" altLang="zh-CN" sz="1000" i="1" baseline="0" dirty="0"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 VAD partners</a:t>
                      </a:r>
                      <a:endParaRPr lang="en-US" altLang="zh-CN" sz="1000" i="1" dirty="0"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400" dirty="0"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No Upgrade</a:t>
                      </a:r>
                      <a:endParaRPr lang="zh-CN" altLang="en-US" sz="1400" dirty="0">
                        <a:latin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58806">
                <a:tc>
                  <a:txBody>
                    <a:bodyPr/>
                    <a:lstStyle/>
                    <a:p>
                      <a:pPr marL="0" marR="0" lvl="0" indent="0" algn="l" defTabSz="863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1" dirty="0"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Enterprise mid and high-end products</a:t>
                      </a:r>
                      <a:endParaRPr lang="zh-CN" altLang="en-US" sz="1400" b="1" dirty="0">
                        <a:latin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63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dirty="0"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Return for Repair (RFR)</a:t>
                      </a:r>
                    </a:p>
                    <a:p>
                      <a:pPr marL="0" marR="0" lvl="0" indent="0" algn="l" defTabSz="863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i="1" dirty="0"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*</a:t>
                      </a:r>
                      <a:r>
                        <a:rPr lang="en-US" altLang="zh-CN" sz="1100" i="1" dirty="0"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By</a:t>
                      </a:r>
                      <a:r>
                        <a:rPr lang="en-US" altLang="zh-CN" sz="1100" i="1" baseline="0" dirty="0"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 Ruijie Networks</a:t>
                      </a:r>
                      <a:endParaRPr lang="en-US" altLang="zh-CN" sz="1100" i="1" dirty="0"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63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400" b="1" kern="1200" dirty="0">
                          <a:solidFill>
                            <a:srgbClr val="FF0000"/>
                          </a:solidFill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*9x5xNBD-Shipment AHR</a:t>
                      </a:r>
                    </a:p>
                    <a:p>
                      <a:pPr marL="0" marR="0" lvl="0" indent="0" algn="l" defTabSz="863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i="1" dirty="0"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*By</a:t>
                      </a:r>
                      <a:r>
                        <a:rPr lang="en-US" altLang="zh-CN" sz="1000" i="1" baseline="0" dirty="0"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 Ruijie Networks</a:t>
                      </a:r>
                      <a:endParaRPr lang="en-US" altLang="zh-CN" sz="1000" i="1" dirty="0"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8" name="文本占位符 2">
            <a:extLst>
              <a:ext uri="{FF2B5EF4-FFF2-40B4-BE49-F238E27FC236}">
                <a16:creationId xmlns:a16="http://schemas.microsoft.com/office/drawing/2014/main" xmlns="" id="{7E817D83-8F41-2437-C5BE-2842526EF96D}"/>
              </a:ext>
            </a:extLst>
          </p:cNvPr>
          <p:cNvSpPr txBox="1">
            <a:spLocks/>
          </p:cNvSpPr>
          <p:nvPr/>
        </p:nvSpPr>
        <p:spPr>
          <a:xfrm>
            <a:off x="285992" y="287759"/>
            <a:ext cx="9892810" cy="376242"/>
          </a:xfrm>
          <a:prstGeom prst="rect">
            <a:avLst/>
          </a:prstGeom>
        </p:spPr>
        <p:txBody>
          <a:bodyPr/>
          <a:lstStyle>
            <a:lvl1pPr marL="0" indent="0" algn="l" defTabSz="863600" rtl="0" eaLnBrk="1" latinLnBrk="0" hangingPunct="1">
              <a:lnSpc>
                <a:spcPct val="120000"/>
              </a:lnSpc>
              <a:spcBef>
                <a:spcPts val="945"/>
              </a:spcBef>
              <a:buFont typeface="Arial" panose="020B0604020202020204" pitchFamily="34" charset="0"/>
              <a:buNone/>
              <a:defRPr sz="1200" kern="1200">
                <a:solidFill>
                  <a:srgbClr val="50555A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431800" indent="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None/>
              <a:defRPr sz="2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1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19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437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8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86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04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22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800" dirty="0">
                <a:solidFill>
                  <a:schemeClr val="tx1"/>
                </a:solidFill>
                <a:latin typeface="Noto Sans Black" panose="020B0A02040504020204"/>
              </a:rPr>
              <a:t>Product Warranty for </a:t>
            </a:r>
            <a:r>
              <a:rPr lang="en-US" altLang="zh-CN" sz="2800" dirty="0">
                <a:solidFill>
                  <a:srgbClr val="043CC1"/>
                </a:solidFill>
                <a:latin typeface="Noto Sans Black" panose="020B0A02040504020204"/>
              </a:rPr>
              <a:t>6 Early Bird Countries</a:t>
            </a:r>
            <a:endParaRPr lang="zh-CN" altLang="en-US" sz="2800" dirty="0">
              <a:solidFill>
                <a:srgbClr val="043CC1"/>
              </a:solidFill>
              <a:latin typeface="Noto Sans Black" panose="020B0A02040504020204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b="1" dirty="0">
                <a:latin typeface="Noto Sans Black" panose="020B0A02040504020204"/>
              </a:rPr>
              <a:t>About </a:t>
            </a:r>
            <a:r>
              <a:rPr lang="en-US" altLang="zh-CN" b="1" dirty="0" err="1">
                <a:latin typeface="Noto Sans Black" panose="020B0A02040504020204"/>
              </a:rPr>
              <a:t>Ruijie</a:t>
            </a:r>
            <a:r>
              <a:rPr lang="en-US" altLang="zh-CN" b="1" dirty="0">
                <a:latin typeface="Noto Sans Black" panose="020B0A02040504020204"/>
              </a:rPr>
              <a:t> Networks Service</a:t>
            </a:r>
            <a:endParaRPr lang="zh-CN" altLang="en-US" b="1" dirty="0">
              <a:latin typeface="Noto Sans Black" panose="020B0A02040504020204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76000" y="1727920"/>
            <a:ext cx="10368000" cy="2880320"/>
          </a:xfrm>
        </p:spPr>
        <p:txBody>
          <a:bodyPr/>
          <a:lstStyle/>
          <a:p>
            <a:r>
              <a:rPr lang="en-US" altLang="zh-CN" sz="1800" b="1" dirty="0">
                <a:latin typeface="Noto Sans"/>
              </a:rPr>
              <a:t>As an ICT infrastructure and solution provider, </a:t>
            </a:r>
            <a:r>
              <a:rPr lang="en-US" altLang="zh-CN" sz="1800" b="1" dirty="0" err="1">
                <a:latin typeface="Noto Sans"/>
              </a:rPr>
              <a:t>Ruijie</a:t>
            </a:r>
            <a:r>
              <a:rPr lang="en-US" altLang="zh-CN" sz="1800" b="1" dirty="0">
                <a:latin typeface="Noto Sans"/>
              </a:rPr>
              <a:t> Networks has taken service as its foundation since its inception. </a:t>
            </a:r>
            <a:r>
              <a:rPr lang="en-US" altLang="zh-CN" sz="1800" b="1" dirty="0" err="1">
                <a:latin typeface="Noto Sans"/>
              </a:rPr>
              <a:t>Ruijie</a:t>
            </a:r>
            <a:r>
              <a:rPr lang="en-US" altLang="zh-CN" sz="1800" b="1" dirty="0">
                <a:latin typeface="Noto Sans"/>
              </a:rPr>
              <a:t> Networks has established a set professional service system in the service network, service processes, service staff, and service tools based on practical experience to help customers access high-quality service. </a:t>
            </a:r>
          </a:p>
          <a:p>
            <a:endParaRPr lang="en-US" altLang="zh-CN" sz="1800" b="1" dirty="0">
              <a:latin typeface="Noto Sans"/>
            </a:endParaRPr>
          </a:p>
          <a:p>
            <a:r>
              <a:rPr lang="en-US" altLang="zh-CN" sz="1800" b="1" dirty="0" err="1">
                <a:latin typeface="Noto Sans"/>
              </a:rPr>
              <a:t>Ruijie</a:t>
            </a:r>
            <a:r>
              <a:rPr lang="en-US" altLang="zh-CN" sz="1800" b="1" dirty="0">
                <a:latin typeface="Noto Sans"/>
              </a:rPr>
              <a:t> Networks will improve the service management system and service product continually based on customer</a:t>
            </a:r>
            <a:r>
              <a:rPr lang="en-US" altLang="zh-CN" sz="1800" b="1" dirty="0">
                <a:latin typeface="Noto Sans"/>
                <a:cs typeface="Arial" panose="020B0604020202020204" pitchFamily="34" charset="0"/>
              </a:rPr>
              <a:t>’</a:t>
            </a:r>
            <a:r>
              <a:rPr lang="en-US" altLang="zh-CN" sz="1800" b="1" dirty="0">
                <a:latin typeface="Noto Sans"/>
              </a:rPr>
              <a:t>s requirements with a forward-looking sight.</a:t>
            </a:r>
          </a:p>
          <a:p>
            <a:endParaRPr lang="zh-CN" altLang="en-US" sz="1800" b="1" dirty="0">
              <a:latin typeface="Noto San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内容占位符 2">
            <a:extLst>
              <a:ext uri="{FF2B5EF4-FFF2-40B4-BE49-F238E27FC236}">
                <a16:creationId xmlns:a16="http://schemas.microsoft.com/office/drawing/2014/main" xmlns="" id="{CB5858DA-18C6-4813-B18A-2DC0A6A211FD}"/>
              </a:ext>
            </a:extLst>
          </p:cNvPr>
          <p:cNvSpPr txBox="1">
            <a:spLocks/>
          </p:cNvSpPr>
          <p:nvPr/>
        </p:nvSpPr>
        <p:spPr>
          <a:xfrm>
            <a:off x="321736" y="935831"/>
            <a:ext cx="10838314" cy="1034841"/>
          </a:xfrm>
          <a:prstGeom prst="rect">
            <a:avLst/>
          </a:prstGeom>
        </p:spPr>
        <p:txBody>
          <a:bodyPr/>
          <a:lstStyle>
            <a:lvl1pPr marL="0" indent="0" algn="l" defTabSz="863600" rtl="0" eaLnBrk="1" latinLnBrk="0" hangingPunct="1">
              <a:lnSpc>
                <a:spcPct val="120000"/>
              </a:lnSpc>
              <a:spcBef>
                <a:spcPts val="945"/>
              </a:spcBef>
              <a:buFont typeface="Arial" panose="020B0604020202090204" pitchFamily="34" charset="0"/>
              <a:buNone/>
              <a:defRPr sz="1200" kern="1200">
                <a:solidFill>
                  <a:srgbClr val="50555A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431800" indent="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90204" pitchFamily="34" charset="0"/>
              <a:buNone/>
              <a:defRPr sz="2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1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9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19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9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437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9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8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9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86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9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04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9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22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9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400" dirty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Your mission-critical network requires </a:t>
            </a:r>
            <a:r>
              <a:rPr lang="en-US" altLang="zh-CN" sz="1400" b="1" dirty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24x7x365</a:t>
            </a:r>
            <a:r>
              <a:rPr lang="en-US" altLang="zh-CN" sz="1400" dirty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attention and needs the backing of</a:t>
            </a:r>
            <a:r>
              <a:rPr lang="en-US" altLang="zh-CN" sz="1400" b="1" dirty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R-Care+</a:t>
            </a:r>
            <a:r>
              <a:rPr lang="en-US" altLang="zh-CN" sz="1400" dirty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for Ruijie support services. </a:t>
            </a:r>
          </a:p>
          <a:p>
            <a:r>
              <a:rPr lang="en-US" altLang="zh-CN" sz="1400" dirty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-Care+ provides essential support entitlements to ensure business continuity, </a:t>
            </a:r>
            <a:r>
              <a:rPr lang="en-US" altLang="zh-CN" sz="14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featuring 24x7 TAC, NBD/4H AHR, and onsite service support</a:t>
            </a:r>
            <a:r>
              <a:rPr lang="en-US" altLang="zh-CN" sz="1400" dirty="0">
                <a:solidFill>
                  <a:srgbClr val="FF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n-US" altLang="zh-CN" sz="1400" dirty="0">
                <a:solidFill>
                  <a:schemeClr val="tx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for uninterrupted network operations.</a:t>
            </a:r>
            <a:endParaRPr lang="en-US" altLang="zh-CN" sz="1400" dirty="0">
              <a:solidFill>
                <a:schemeClr val="tx1"/>
              </a:solidFill>
              <a:effectLst/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286842" y="5153234"/>
            <a:ext cx="10139064" cy="319101"/>
            <a:chOff x="445807" y="5785823"/>
            <a:chExt cx="10139064" cy="319101"/>
          </a:xfrm>
        </p:grpSpPr>
        <p:sp>
          <p:nvSpPr>
            <p:cNvPr id="7" name="矩形 6"/>
            <p:cNvSpPr/>
            <p:nvPr/>
          </p:nvSpPr>
          <p:spPr>
            <a:xfrm>
              <a:off x="1147687" y="5816601"/>
              <a:ext cx="2078986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200" i="1" dirty="0">
                  <a:solidFill>
                    <a:srgbClr val="000000"/>
                  </a:solidFill>
                  <a:latin typeface="Noto Sans" panose="020B0502040504020204"/>
                  <a:ea typeface="Noto Sans" panose="020B0502040504020204" pitchFamily="34" charset="0"/>
                  <a:cs typeface="Noto Sans" panose="020B0502040504020204" pitchFamily="34" charset="0"/>
                </a:rPr>
                <a:t>RFR</a:t>
              </a:r>
              <a:r>
                <a:rPr lang="zh-CN" altLang="en-US" sz="1200" i="1" dirty="0">
                  <a:solidFill>
                    <a:srgbClr val="000000"/>
                  </a:solidFill>
                  <a:latin typeface="Noto Sans" panose="020B0502040504020204"/>
                  <a:ea typeface="微软雅黑" panose="020B0503020204020204" pitchFamily="34" charset="-122"/>
                  <a:cs typeface="Noto Sans" panose="020B0502040504020204" pitchFamily="34" charset="0"/>
                </a:rPr>
                <a:t>：</a:t>
              </a:r>
              <a:r>
                <a:rPr lang="en-US" altLang="zh-CN" sz="1200" i="1" dirty="0">
                  <a:solidFill>
                    <a:srgbClr val="000000"/>
                  </a:solidFill>
                  <a:latin typeface="Noto Sans" panose="020B0502040504020204"/>
                  <a:ea typeface="Noto Sans" panose="020B0502040504020204" pitchFamily="34" charset="0"/>
                  <a:cs typeface="Noto Sans" panose="020B0502040504020204" pitchFamily="34" charset="0"/>
                </a:rPr>
                <a:t>Return for Repair</a:t>
              </a:r>
            </a:p>
          </p:txBody>
        </p:sp>
        <p:sp>
          <p:nvSpPr>
            <p:cNvPr id="8" name="矩形 7"/>
            <p:cNvSpPr/>
            <p:nvPr/>
          </p:nvSpPr>
          <p:spPr>
            <a:xfrm>
              <a:off x="5223407" y="5816602"/>
              <a:ext cx="2406658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200" i="1" dirty="0">
                  <a:solidFill>
                    <a:srgbClr val="000000"/>
                  </a:solidFill>
                  <a:latin typeface="Noto Sans" panose="020B0502040504020204"/>
                  <a:ea typeface="Noto Sans" panose="020B0502040504020204" pitchFamily="34" charset="0"/>
                  <a:cs typeface="Noto Sans" panose="020B0502040504020204" pitchFamily="34" charset="0"/>
                </a:rPr>
                <a:t>NBD</a:t>
              </a:r>
              <a:r>
                <a:rPr lang="zh-CN" altLang="en-US" sz="1200" i="1" dirty="0">
                  <a:solidFill>
                    <a:srgbClr val="000000"/>
                  </a:solidFill>
                  <a:latin typeface="Noto Sans" panose="020B0502040504020204"/>
                  <a:ea typeface="微软雅黑" panose="020B0503020204020204" pitchFamily="34" charset="-122"/>
                  <a:cs typeface="Noto Sans" panose="020B0502040504020204" pitchFamily="34" charset="0"/>
                </a:rPr>
                <a:t>：</a:t>
              </a:r>
              <a:r>
                <a:rPr lang="en-US" altLang="zh-CN" sz="1200" i="1" dirty="0">
                  <a:solidFill>
                    <a:srgbClr val="000000"/>
                  </a:solidFill>
                  <a:latin typeface="Noto Sans" panose="020B0502040504020204"/>
                  <a:ea typeface="Noto Sans" panose="020B0502040504020204" pitchFamily="34" charset="0"/>
                  <a:cs typeface="Noto Sans" panose="020B0502040504020204" pitchFamily="34" charset="0"/>
                </a:rPr>
                <a:t>Next Business Day</a:t>
              </a:r>
            </a:p>
          </p:txBody>
        </p:sp>
        <p:sp>
          <p:nvSpPr>
            <p:cNvPr id="9" name="矩形 8"/>
            <p:cNvSpPr/>
            <p:nvPr/>
          </p:nvSpPr>
          <p:spPr>
            <a:xfrm>
              <a:off x="7055594" y="5827925"/>
              <a:ext cx="3529277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200" i="1" dirty="0">
                  <a:solidFill>
                    <a:srgbClr val="000000"/>
                  </a:solidFill>
                  <a:latin typeface="Noto Sans" panose="020B0502040504020204"/>
                  <a:ea typeface="Noto Sans" panose="020B0502040504020204" pitchFamily="34" charset="0"/>
                  <a:cs typeface="Noto Sans" panose="020B0502040504020204" pitchFamily="34" charset="0"/>
                </a:rPr>
                <a:t>9*5*15CD-S</a:t>
              </a:r>
              <a:r>
                <a:rPr lang="zh-CN" altLang="en-US" sz="1200" i="1" dirty="0">
                  <a:solidFill>
                    <a:srgbClr val="000000"/>
                  </a:solidFill>
                  <a:latin typeface="Noto Sans" panose="020B0502040504020204"/>
                  <a:ea typeface="微软雅黑" panose="020B0503020204020204" pitchFamily="34" charset="-122"/>
                  <a:cs typeface="Noto Sans" panose="020B0502040504020204" pitchFamily="34" charset="0"/>
                </a:rPr>
                <a:t>：</a:t>
              </a:r>
              <a:r>
                <a:rPr lang="en-US" altLang="zh-CN" sz="1200" i="1" dirty="0">
                  <a:solidFill>
                    <a:srgbClr val="000000"/>
                  </a:solidFill>
                  <a:latin typeface="Noto Sans" panose="020B0502040504020204"/>
                  <a:ea typeface="Noto Sans" panose="020B0502040504020204" pitchFamily="34" charset="0"/>
                  <a:cs typeface="Noto Sans" panose="020B0502040504020204" pitchFamily="34" charset="0"/>
                </a:rPr>
                <a:t>15 Calendar Day Shipment</a:t>
              </a:r>
            </a:p>
          </p:txBody>
        </p:sp>
        <p:sp>
          <p:nvSpPr>
            <p:cNvPr id="10" name="矩形 9"/>
            <p:cNvSpPr/>
            <p:nvPr/>
          </p:nvSpPr>
          <p:spPr>
            <a:xfrm>
              <a:off x="2879130" y="5827925"/>
              <a:ext cx="2841892" cy="2707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100" i="1" dirty="0">
                  <a:solidFill>
                    <a:srgbClr val="000000"/>
                  </a:solidFill>
                  <a:latin typeface="Noto Sans" panose="020B0502040504020204"/>
                  <a:ea typeface="Noto Sans" panose="020B0502040504020204" pitchFamily="34" charset="0"/>
                  <a:cs typeface="Noto Sans" panose="020B0502040504020204" pitchFamily="34" charset="0"/>
                </a:rPr>
                <a:t>AHR</a:t>
              </a:r>
              <a:r>
                <a:rPr lang="zh-CN" altLang="en-US" sz="1100" i="1" dirty="0">
                  <a:solidFill>
                    <a:srgbClr val="000000"/>
                  </a:solidFill>
                  <a:latin typeface="Noto Sans" panose="020B0502040504020204"/>
                  <a:ea typeface="微软雅黑" panose="020B0503020204020204" pitchFamily="34" charset="-122"/>
                  <a:cs typeface="Noto Sans" panose="020B0502040504020204" pitchFamily="34" charset="0"/>
                </a:rPr>
                <a:t>：</a:t>
              </a:r>
              <a:r>
                <a:rPr lang="en-US" altLang="zh-CN" sz="1100" i="1" dirty="0">
                  <a:solidFill>
                    <a:srgbClr val="000000"/>
                  </a:solidFill>
                  <a:latin typeface="Noto Sans" panose="020B0502040504020204"/>
                  <a:ea typeface="Noto Sans" panose="020B0502040504020204" pitchFamily="34" charset="0"/>
                  <a:cs typeface="Noto Sans" panose="020B0502040504020204" pitchFamily="34" charset="0"/>
                </a:rPr>
                <a:t>Advanced Hardware Replacement</a:t>
              </a:r>
              <a:endParaRPr lang="zh-CN" altLang="en-US" sz="1100" i="1" dirty="0">
                <a:latin typeface="Noto Sans" panose="020B0502040504020204"/>
                <a:cs typeface="Noto Sans" panose="020B0502040504020204" pitchFamily="34" charset="0"/>
              </a:endParaRPr>
            </a:p>
          </p:txBody>
        </p:sp>
        <p:sp>
          <p:nvSpPr>
            <p:cNvPr id="11" name="文本框 10"/>
            <p:cNvSpPr txBox="1"/>
            <p:nvPr/>
          </p:nvSpPr>
          <p:spPr>
            <a:xfrm>
              <a:off x="445807" y="5785823"/>
              <a:ext cx="83738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400" b="1" i="1" dirty="0">
                  <a:solidFill>
                    <a:srgbClr val="000000"/>
                  </a:solidFill>
                  <a:latin typeface="Noto Sans" panose="020B0502040504020204"/>
                  <a:ea typeface="Noto Sans" panose="020B0502040504020204" pitchFamily="34" charset="0"/>
                  <a:cs typeface="Noto Sans" panose="020B0502040504020204" pitchFamily="34" charset="0"/>
                </a:rPr>
                <a:t>Note:</a:t>
              </a:r>
            </a:p>
          </p:txBody>
        </p:sp>
      </p:grpSp>
      <p:graphicFrame>
        <p:nvGraphicFramePr>
          <p:cNvPr id="12" name="表格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7438164"/>
              </p:ext>
            </p:extLst>
          </p:nvPr>
        </p:nvGraphicFramePr>
        <p:xfrm>
          <a:off x="430858" y="1960144"/>
          <a:ext cx="10557230" cy="3145237"/>
        </p:xfrm>
        <a:graphic>
          <a:graphicData uri="http://schemas.openxmlformats.org/drawingml/2006/table">
            <a:tbl>
              <a:tblPr/>
              <a:tblGrid>
                <a:gridCol w="135957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39844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442045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310663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1230083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</a:tblGrid>
              <a:tr h="200224">
                <a:tc rowSpan="2"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/>
                      <a:r>
                        <a:rPr lang="en-US" altLang="zh-CN" sz="1050" b="1" dirty="0">
                          <a:solidFill>
                            <a:schemeClr val="bg1"/>
                          </a:solidFill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  <a:sym typeface="+mn-ea"/>
                        </a:rPr>
                        <a:t>Service Level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5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Annual Renewal Warranty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5Y Warranty Service Package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altLang="zh-CN" sz="1200" b="1" dirty="0">
                        <a:solidFill>
                          <a:schemeClr val="bg1"/>
                        </a:solidFill>
                        <a:latin typeface="+mn-lt"/>
                        <a:ea typeface="Noto Sans" panose="020B0502040504020204" pitchFamily="34" charset="0"/>
                        <a:cs typeface="Noto Sans" panose="020B0502040504020204" pitchFamily="34" charset="0"/>
                        <a:sym typeface="+mn-ea"/>
                      </a:endParaRP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 b="1" dirty="0">
                          <a:solidFill>
                            <a:schemeClr val="bg1"/>
                          </a:solidFill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  <a:sym typeface="+mn-ea"/>
                        </a:rPr>
                        <a:t>R-Care+ Device Maintenance Services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10950">
                <a:tc vMerge="1"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 vMerge="1"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r>
                        <a:rPr lang="en-US" altLang="zh-CN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AHR </a:t>
                      </a:r>
                      <a:r>
                        <a:rPr 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Standard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r>
                        <a:rPr lang="en-US" altLang="zh-CN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AHR </a:t>
                      </a:r>
                      <a:r>
                        <a:rPr 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Golden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r>
                        <a:rPr lang="en-US" altLang="zh-CN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On-site Standard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r>
                        <a:rPr lang="en-US" altLang="zh-CN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On-site Golden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3834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Products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9x5x15CD-S Basic RFR Service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5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5Y Basic RFR Service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5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5Y NBD-S</a:t>
                      </a:r>
                      <a:r>
                        <a:rPr lang="en-US" altLang="zh-CN" sz="1050" b="1" i="0" u="none" strike="noStrike" kern="1200" baseline="0" dirty="0">
                          <a:solidFill>
                            <a:srgbClr val="FFFFFF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 AHR</a:t>
                      </a:r>
                      <a:r>
                        <a:rPr lang="en-US" altLang="zh-CN" sz="105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 Service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9x5xNBD </a:t>
                      </a:r>
                    </a:p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Standard AHR Service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24x7x4 </a:t>
                      </a:r>
                    </a:p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Golden AHR Service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9x5xNBD </a:t>
                      </a:r>
                    </a:p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Standard On-site Service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24x7x4 Golden </a:t>
                      </a:r>
                    </a:p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On-site  Service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38346"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marL="0" algn="ctr" defTabSz="608965" rtl="0" eaLnBrk="1" fontAlgn="ctr" latinLnBrk="0" hangingPunct="1"/>
                      <a:r>
                        <a:rPr lang="en-US" altLang="zh-CN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Remote Technical Assistance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 Live chat &amp; Hot line：9x5</a:t>
                      </a: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Noto Sans" panose="020B0502040504020204"/>
                          <a:ea typeface="微软雅黑" panose="020B0503020204020204" pitchFamily="34" charset="-122"/>
                          <a:cs typeface="Noto Sans" panose="020B0502040504020204" pitchFamily="34" charset="0"/>
                        </a:rPr>
                        <a:t>（</a:t>
                      </a:r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local business time</a:t>
                      </a: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Noto Sans" panose="020B0502040504020204"/>
                          <a:ea typeface="微软雅黑" panose="020B0503020204020204" pitchFamily="34" charset="-122"/>
                          <a:cs typeface="Noto Sans" panose="020B0502040504020204" pitchFamily="34" charset="0"/>
                        </a:rPr>
                        <a:t>）</a:t>
                      </a:r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Noto Sans" panose="020B0502040504020204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 Live chat &amp; Hot line：9x5</a:t>
                      </a: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Noto Sans" panose="020B0502040504020204"/>
                          <a:ea typeface="微软雅黑" panose="020B0503020204020204" pitchFamily="34" charset="-122"/>
                          <a:cs typeface="Noto Sans" panose="020B0502040504020204" pitchFamily="34" charset="0"/>
                        </a:rPr>
                        <a:t>（</a:t>
                      </a:r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local business time</a:t>
                      </a: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Noto Sans" panose="020B0502040504020204"/>
                          <a:ea typeface="微软雅黑" panose="020B0503020204020204" pitchFamily="34" charset="-122"/>
                          <a:cs typeface="Noto Sans" panose="020B0502040504020204" pitchFamily="34" charset="0"/>
                        </a:rPr>
                        <a:t>）</a:t>
                      </a:r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Noto Sans" panose="020B0502040504020204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 Live chat &amp; Hot line：9x5</a:t>
                      </a: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Noto Sans" panose="020B0502040504020204"/>
                          <a:ea typeface="微软雅黑" panose="020B0503020204020204" pitchFamily="34" charset="-122"/>
                          <a:cs typeface="Noto Sans" panose="020B0502040504020204" pitchFamily="34" charset="0"/>
                        </a:rPr>
                        <a:t>（</a:t>
                      </a:r>
                      <a:r>
                        <a:rPr lang="en-US" altLang="zh-CN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local business time</a:t>
                      </a:r>
                      <a:r>
                        <a:rPr lang="zh-CN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Noto Sans" panose="020B0502040504020204"/>
                          <a:ea typeface="微软雅黑" panose="020B0503020204020204" pitchFamily="34" charset="-122"/>
                          <a:cs typeface="Noto Sans" panose="020B0502040504020204" pitchFamily="34" charset="0"/>
                        </a:rPr>
                        <a:t>）</a:t>
                      </a:r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Noto Sans" panose="020B0502040504020204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Live chat &amp; Hot line：</a:t>
                      </a:r>
                    </a:p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24x7</a:t>
                      </a:r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Noto Sans" panose="020B0502040504020204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Live chat &amp; Hot line：24x7</a:t>
                      </a:r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Noto Sans" panose="020B0502040504020204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Live chat &amp; Hot line：24x7</a:t>
                      </a:r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Noto Sans" panose="020B0502040504020204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Live chat &amp; Hot line：24x7</a:t>
                      </a:r>
                      <a:endParaRPr lang="en-US" altLang="zh-CN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Noto Sans" panose="020B0502040504020204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15453"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Online Self-help Support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Yes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Yes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Yes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Yes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Yes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Yes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Yes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15453"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Software Updates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Up to EOO+2 years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Up to EOO+2 years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Up to EOO+2 years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Up to EOO+2 years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Noto Sans" panose="020B0502040504020204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Up to EOO+2 years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Noto Sans" panose="020B0502040504020204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r>
                        <a:rPr lang="en-US" altLang="zh-CN" sz="1000" b="0" i="0" u="none" strike="noStrike">
                          <a:solidFill>
                            <a:srgbClr val="000000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Up to EOO+2 years</a:t>
                      </a:r>
                      <a:endParaRPr lang="en-US" altLang="zh-CN" sz="1000" b="0" i="0" u="none" strike="noStrike" dirty="0">
                        <a:solidFill>
                          <a:srgbClr val="000000"/>
                        </a:solidFill>
                        <a:effectLst/>
                        <a:latin typeface="Noto Sans" panose="020B0502040504020204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Up to EOO+2 years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92559"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RMA Service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9x5x15CD-Shi</a:t>
                      </a:r>
                      <a:r>
                        <a:rPr lang="en-US" altLang="zh-CN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pment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Noto Sans" panose="020B0502040504020204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1" dirty="0">
                          <a:latin typeface="Noto Sans" panose="020B0502040504020204"/>
                        </a:rPr>
                        <a:t>9x5x15CD-Shipment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1" dirty="0">
                          <a:latin typeface="Noto Sans" panose="020B0502040504020204"/>
                        </a:rPr>
                        <a:t>9x5xNBD-Shipment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r>
                        <a:rPr 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9x5xNBD-arrive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r>
                        <a:rPr lang="en-US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24x7x4-arrive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9x5xNBD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24x7x4H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15453"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On-site Service Level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/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/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6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/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/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r>
                        <a:rPr lang="en-US" altLang="zh-CN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/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9x5xNBD-arrive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>
                      <a:lvl1pPr marL="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1pPr>
                      <a:lvl2pPr marL="609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2pPr>
                      <a:lvl3pPr marL="1219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3pPr>
                      <a:lvl4pPr marL="1828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4pPr>
                      <a:lvl5pPr marL="2439035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5pPr>
                      <a:lvl6pPr marL="30480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6pPr>
                      <a:lvl7pPr marL="36576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7pPr>
                      <a:lvl8pPr marL="42672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8pPr>
                      <a:lvl9pPr marL="4876800" algn="l" defTabSz="60896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等线" panose="02010600030101010101" charset="-122"/>
                        </a:defRPr>
                      </a:lvl9pPr>
                    </a:lstStyle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Noto Sans" panose="020B0502040504020204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24x7x4H-arrive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56D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E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sp>
        <p:nvSpPr>
          <p:cNvPr id="14" name="文本占位符 2">
            <a:extLst>
              <a:ext uri="{FF2B5EF4-FFF2-40B4-BE49-F238E27FC236}">
                <a16:creationId xmlns:a16="http://schemas.microsoft.com/office/drawing/2014/main" xmlns="" id="{7E817D83-8F41-2437-C5BE-2842526EF96D}"/>
              </a:ext>
            </a:extLst>
          </p:cNvPr>
          <p:cNvSpPr txBox="1">
            <a:spLocks/>
          </p:cNvSpPr>
          <p:nvPr/>
        </p:nvSpPr>
        <p:spPr>
          <a:xfrm>
            <a:off x="285992" y="287759"/>
            <a:ext cx="9892810" cy="376242"/>
          </a:xfrm>
          <a:prstGeom prst="rect">
            <a:avLst/>
          </a:prstGeom>
        </p:spPr>
        <p:txBody>
          <a:bodyPr/>
          <a:lstStyle>
            <a:lvl1pPr marL="0" indent="0" algn="l" defTabSz="863600" rtl="0" eaLnBrk="1" latinLnBrk="0" hangingPunct="1">
              <a:lnSpc>
                <a:spcPct val="120000"/>
              </a:lnSpc>
              <a:spcBef>
                <a:spcPts val="945"/>
              </a:spcBef>
              <a:buFont typeface="Arial" panose="020B0604020202020204" pitchFamily="34" charset="0"/>
              <a:buNone/>
              <a:defRPr sz="1200" kern="1200">
                <a:solidFill>
                  <a:srgbClr val="50555A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431800" indent="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None/>
              <a:defRPr sz="2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1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19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437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8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86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04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22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800" dirty="0">
                <a:solidFill>
                  <a:schemeClr val="tx1"/>
                </a:solidFill>
                <a:latin typeface="Noto Sans Black" panose="020B0A02040504020204"/>
              </a:rPr>
              <a:t>Product Warranty &amp; </a:t>
            </a:r>
            <a:r>
              <a:rPr lang="en-US" altLang="zh-CN" sz="2800" dirty="0">
                <a:solidFill>
                  <a:srgbClr val="043CC1"/>
                </a:solidFill>
                <a:latin typeface="Noto Sans Black" panose="020B0A02040504020204"/>
              </a:rPr>
              <a:t>R-Care+ Service</a:t>
            </a:r>
            <a:endParaRPr lang="zh-CN" altLang="en-US" sz="2800" dirty="0">
              <a:solidFill>
                <a:srgbClr val="043CC1"/>
              </a:solidFill>
              <a:latin typeface="Noto Sans Black" panose="020B0A02040504020204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le 6">
            <a:extLst>
              <a:ext uri="{FF2B5EF4-FFF2-40B4-BE49-F238E27FC236}">
                <a16:creationId xmlns:a16="http://schemas.microsoft.com/office/drawing/2014/main" xmlns="" id="{29538C63-3068-811E-D850-3DEF5B28E1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8541558"/>
              </p:ext>
            </p:extLst>
          </p:nvPr>
        </p:nvGraphicFramePr>
        <p:xfrm>
          <a:off x="699952" y="1055467"/>
          <a:ext cx="9956042" cy="3185240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390201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30219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75182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79777">
                <a:tc>
                  <a:txBody>
                    <a:bodyPr/>
                    <a:lstStyle/>
                    <a:p>
                      <a:pPr algn="ctr"/>
                      <a:r>
                        <a:rPr lang="en-US" sz="1200" baseline="0" dirty="0">
                          <a:solidFill>
                            <a:schemeClr val="bg1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Deliverable </a:t>
                      </a:r>
                      <a:endParaRPr lang="en-ID" sz="1200" dirty="0">
                        <a:solidFill>
                          <a:schemeClr val="bg1"/>
                        </a:solidFill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2" marR="86392" marT="43196" marB="4319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Product Warranty</a:t>
                      </a:r>
                      <a:endParaRPr lang="en-ID" sz="1200" dirty="0">
                        <a:solidFill>
                          <a:schemeClr val="bg1"/>
                        </a:solidFill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2" marR="86392" marT="43196" marB="4319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R-Care+ Service</a:t>
                      </a:r>
                      <a:endParaRPr lang="en-ID" sz="1200" dirty="0">
                        <a:solidFill>
                          <a:schemeClr val="bg1"/>
                        </a:solidFill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2" marR="86392" marT="43196" marB="4319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F96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08960">
                <a:tc>
                  <a:txBody>
                    <a:bodyPr/>
                    <a:lstStyle/>
                    <a:p>
                      <a:pPr marL="0" algn="l" defTabSz="863925" rtl="0" eaLnBrk="1" fontAlgn="ctr" latinLnBrk="0" hangingPunct="1"/>
                      <a:r>
                        <a:rPr lang="en-US" altLang="zh-CN" sz="1200" kern="1200" dirty="0"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Remote Technical Assistance</a:t>
                      </a:r>
                      <a:endParaRPr lang="en-US" altLang="zh-CN" sz="1200" b="1" kern="1200" dirty="0">
                        <a:solidFill>
                          <a:schemeClr val="tx1"/>
                        </a:solidFill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2" marR="86392" marT="43196" marB="43196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D" sz="1200" dirty="0"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2" marR="86392" marT="43196" marB="43196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ID" sz="1200" dirty="0"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2" marR="86392" marT="43196" marB="43196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14427">
                <a:tc>
                  <a:txBody>
                    <a:bodyPr/>
                    <a:lstStyle/>
                    <a:p>
                      <a:r>
                        <a:rPr lang="en-US" altLang="zh-CN" sz="110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Priority Access Ruijie TAC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863925" rtl="0" eaLnBrk="1" latinLnBrk="0" hangingPunct="1"/>
                      <a:r>
                        <a:rPr lang="en-US" altLang="zh-CN" sz="1100" kern="1200" dirty="0"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Yes with conditions</a:t>
                      </a:r>
                      <a:r>
                        <a:rPr lang="en-US" sz="1200" baseline="50000" dirty="0"/>
                        <a:t>①</a:t>
                      </a:r>
                      <a:endParaRPr lang="en-US" altLang="zh-CN" sz="1100" kern="1200" baseline="30000" dirty="0">
                        <a:solidFill>
                          <a:schemeClr val="tx1"/>
                        </a:solidFill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2" marR="86392" marT="43196" marB="4319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YES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37143">
                <a:tc>
                  <a:txBody>
                    <a:bodyPr/>
                    <a:lstStyle/>
                    <a:p>
                      <a:pPr marL="0" marR="0" lvl="0" indent="0" algn="l" defTabSz="863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10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Expert Hotline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863925" rtl="0" eaLnBrk="1" latinLnBrk="0" hangingPunct="1"/>
                      <a:r>
                        <a:rPr lang="en-US" altLang="zh-CN" sz="1100" kern="1200" dirty="0"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Yes with conditions</a:t>
                      </a:r>
                      <a:r>
                        <a:rPr lang="en-US" sz="1100" baseline="50000" dirty="0"/>
                        <a:t>①</a:t>
                      </a:r>
                      <a:endParaRPr lang="en-US" altLang="zh-CN" sz="1100" kern="1200" baseline="50000" dirty="0">
                        <a:solidFill>
                          <a:schemeClr val="tx1"/>
                        </a:solidFill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2" marR="86392" marT="43196" marB="4319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YES</a:t>
                      </a:r>
                    </a:p>
                  </a:txBody>
                  <a:tcPr marL="86392" marR="86392" marT="43196" marB="4319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86001773"/>
                  </a:ext>
                </a:extLst>
              </a:tr>
              <a:tr h="288349">
                <a:tc>
                  <a:txBody>
                    <a:bodyPr/>
                    <a:lstStyle/>
                    <a:p>
                      <a:pPr marL="0" marR="0" lvl="0" indent="0" algn="l" defTabSz="863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10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Hot</a:t>
                      </a:r>
                      <a:r>
                        <a:rPr lang="en-US" sz="1100" baseline="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 line &amp; Live chat SLA</a:t>
                      </a:r>
                      <a:endParaRPr lang="en-US" sz="1100" dirty="0">
                        <a:effectLst/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2" marR="86392" marT="43196" marB="4319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863925" rtl="0" eaLnBrk="1" latinLnBrk="0" hangingPunct="1"/>
                      <a:r>
                        <a:rPr lang="en-US" altLang="zh-CN" sz="1100" kern="1200" dirty="0"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9x5 </a:t>
                      </a:r>
                      <a:endParaRPr lang="en-US" altLang="zh-CN" sz="1100" kern="1200" dirty="0">
                        <a:solidFill>
                          <a:srgbClr val="FF0000"/>
                        </a:solidFill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2" marR="86392" marT="43196" marB="4319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863925" rtl="0" eaLnBrk="1" latinLnBrk="0" hangingPunct="1"/>
                      <a:r>
                        <a:rPr lang="en-US" sz="1100" kern="1200" dirty="0"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24x7x365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2" marR="86392" marT="43196" marB="4319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34785">
                <a:tc>
                  <a:txBody>
                    <a:bodyPr/>
                    <a:lstStyle/>
                    <a:p>
                      <a:pPr marL="0" algn="l" defTabSz="863925" rtl="0" eaLnBrk="1" fontAlgn="ctr" latinLnBrk="0" hangingPunct="1"/>
                      <a:r>
                        <a:rPr lang="en-US" altLang="zh-CN" sz="1200" kern="1200" dirty="0"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Hardware</a:t>
                      </a:r>
                      <a:r>
                        <a:rPr lang="en-US" altLang="zh-CN" sz="1200" kern="1200" baseline="0" dirty="0"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 Support</a:t>
                      </a:r>
                      <a:endParaRPr lang="en-US" altLang="zh-CN" sz="1200" b="1" kern="1200" dirty="0">
                        <a:solidFill>
                          <a:schemeClr val="tx1"/>
                        </a:solidFill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2" marR="86392" marT="43196" marB="43196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863925" rtl="0" eaLnBrk="1" latinLnBrk="0" hangingPunct="1"/>
                      <a:endParaRPr lang="en-ID" sz="1200" kern="1200" dirty="0">
                        <a:solidFill>
                          <a:schemeClr val="tx1"/>
                        </a:solidFill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2" marR="86392" marT="43196" marB="43196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863925" rtl="0" eaLnBrk="1" latinLnBrk="0" hangingPunct="1"/>
                      <a:endParaRPr lang="en-ID" sz="1200" kern="1200" dirty="0">
                        <a:solidFill>
                          <a:schemeClr val="tx1"/>
                        </a:solidFill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2" marR="86392" marT="43196" marB="43196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09979">
                <a:tc>
                  <a:txBody>
                    <a:bodyPr/>
                    <a:lstStyle/>
                    <a:p>
                      <a:pPr marL="0" algn="l" defTabSz="863925" rtl="0" eaLnBrk="1" fontAlgn="ctr" latinLnBrk="0" hangingPunct="1"/>
                      <a:r>
                        <a:rPr lang="en-US" altLang="zh-CN" sz="1100" kern="120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Ruijie Case Portal Platform</a:t>
                      </a:r>
                      <a:r>
                        <a:rPr lang="en-US" altLang="zh-CN" sz="1100" kern="1200" baseline="5000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②</a:t>
                      </a:r>
                      <a:endParaRPr lang="en-US" altLang="zh-CN" sz="1100" kern="1200" baseline="50000" dirty="0">
                        <a:solidFill>
                          <a:schemeClr val="tx1"/>
                        </a:solidFill>
                        <a:effectLst/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2" marR="86392" marT="43196" marB="4319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100" dirty="0"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YES</a:t>
                      </a:r>
                    </a:p>
                  </a:txBody>
                  <a:tcPr marL="86392" marR="86392" marT="43196" marB="4319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9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D" altLang="zh-CN" sz="1100" dirty="0"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YES</a:t>
                      </a:r>
                    </a:p>
                  </a:txBody>
                  <a:tcPr marL="86392" marR="86392" marT="43196" marB="4319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22381">
                <a:tc>
                  <a:txBody>
                    <a:bodyPr/>
                    <a:lstStyle/>
                    <a:p>
                      <a:pPr marL="0" marR="0" lvl="0" indent="0" algn="l" defTabSz="863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10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Ruijie Local Spare Part Warehouse</a:t>
                      </a:r>
                    </a:p>
                  </a:txBody>
                  <a:tcPr marL="86392" marR="86392" marT="43196" marB="4319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863925" rtl="0" eaLnBrk="1" latinLnBrk="0" hangingPunct="1"/>
                      <a:r>
                        <a:rPr lang="en-US" altLang="zh-CN" sz="1100" kern="1200" dirty="0"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Yes with conditions</a:t>
                      </a:r>
                      <a:r>
                        <a:rPr lang="en-US" sz="1100" baseline="50000" dirty="0"/>
                        <a:t>①</a:t>
                      </a:r>
                      <a:endParaRPr lang="en-US" altLang="zh-CN" sz="1100" kern="1200" dirty="0">
                        <a:solidFill>
                          <a:schemeClr val="tx1"/>
                        </a:solidFill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2" marR="86392" marT="43196" marB="4319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YES</a:t>
                      </a:r>
                    </a:p>
                  </a:txBody>
                  <a:tcPr marL="86392" marR="86392" marT="43196" marB="4319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78072720"/>
                  </a:ext>
                </a:extLst>
              </a:tr>
              <a:tr h="322381">
                <a:tc>
                  <a:txBody>
                    <a:bodyPr/>
                    <a:lstStyle/>
                    <a:p>
                      <a:pPr marL="0" marR="0" lvl="0" indent="0" algn="l" defTabSz="863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10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Local 9x5xNBD-Shippment (NBD AHR)</a:t>
                      </a:r>
                      <a:r>
                        <a:rPr lang="en-US" sz="1100" baseline="50000" dirty="0"/>
                        <a:t> ①</a:t>
                      </a:r>
                      <a:endParaRPr lang="en-US" sz="1100" dirty="0">
                        <a:effectLst/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2" marR="86392" marT="43196" marB="4319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863925" rtl="0" eaLnBrk="1" latinLnBrk="0" hangingPunct="1"/>
                      <a:r>
                        <a:rPr lang="en-US" altLang="zh-CN" sz="1100" kern="1200" dirty="0"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Yes with conditions</a:t>
                      </a:r>
                      <a:r>
                        <a:rPr lang="en-US" sz="1100" baseline="50000" dirty="0"/>
                        <a:t>①</a:t>
                      </a:r>
                      <a:endParaRPr lang="en-US" altLang="zh-CN" sz="1100" kern="1200" dirty="0">
                        <a:solidFill>
                          <a:schemeClr val="tx1"/>
                        </a:solidFill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2" marR="86392" marT="43196" marB="4319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YES</a:t>
                      </a:r>
                    </a:p>
                  </a:txBody>
                  <a:tcPr marL="86392" marR="86392" marT="43196" marB="4319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68535938"/>
                  </a:ext>
                </a:extLst>
              </a:tr>
              <a:tr h="350169">
                <a:tc>
                  <a:txBody>
                    <a:bodyPr/>
                    <a:lstStyle/>
                    <a:p>
                      <a:pPr marL="0" marR="0" lvl="0" indent="0" algn="l" defTabSz="8636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10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AHR and</a:t>
                      </a:r>
                      <a:r>
                        <a:rPr lang="en-US" sz="1100" baseline="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 onsite </a:t>
                      </a:r>
                      <a:r>
                        <a:rPr lang="en-US" sz="1100" dirty="0">
                          <a:effectLst/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committed delivery SLA</a:t>
                      </a:r>
                    </a:p>
                  </a:txBody>
                  <a:tcPr marL="86392" marR="86392" marT="43196" marB="4319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6392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100" dirty="0"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×</a:t>
                      </a:r>
                      <a:endParaRPr lang="en-ID" altLang="zh-CN" sz="1100" dirty="0">
                        <a:solidFill>
                          <a:srgbClr val="FF0000"/>
                        </a:solidFill>
                        <a:latin typeface="Noto Sans" panose="020B0502040504020204" pitchFamily="34" charset="0"/>
                        <a:ea typeface="Noto Sans" panose="020B0502040504020204" pitchFamily="34" charset="0"/>
                        <a:cs typeface="Noto Sans" panose="020B0502040504020204" pitchFamily="34" charset="0"/>
                      </a:endParaRPr>
                    </a:p>
                  </a:txBody>
                  <a:tcPr marL="86392" marR="86392" marT="43196" marB="4319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Noto Sans" panose="020B0502040504020204" pitchFamily="34" charset="0"/>
                          <a:ea typeface="Noto Sans" panose="020B0502040504020204" pitchFamily="34" charset="0"/>
                          <a:cs typeface="Noto Sans" panose="020B0502040504020204" pitchFamily="34" charset="0"/>
                        </a:rPr>
                        <a:t>YES</a:t>
                      </a:r>
                    </a:p>
                  </a:txBody>
                  <a:tcPr marL="86392" marR="86392" marT="43196" marB="4319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</a:tbl>
          </a:graphicData>
        </a:graphic>
      </p:graphicFrame>
      <p:sp>
        <p:nvSpPr>
          <p:cNvPr id="11" name="文本框 10">
            <a:extLst>
              <a:ext uri="{FF2B5EF4-FFF2-40B4-BE49-F238E27FC236}">
                <a16:creationId xmlns:a16="http://schemas.microsoft.com/office/drawing/2014/main" xmlns="" id="{55C03A48-DCF7-A94C-30FF-31E43D2CDA19}"/>
              </a:ext>
            </a:extLst>
          </p:cNvPr>
          <p:cNvSpPr txBox="1"/>
          <p:nvPr/>
        </p:nvSpPr>
        <p:spPr>
          <a:xfrm>
            <a:off x="718890" y="4975537"/>
            <a:ext cx="10513168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1000" dirty="0"/>
              <a:t>① </a:t>
            </a:r>
            <a:r>
              <a:rPr lang="en-US" altLang="zh-CN" sz="1000" i="1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Limited Country/Region and partners: Gold and Silver partners in UAE, Saudi Arabia, </a:t>
            </a:r>
            <a:r>
              <a:rPr lang="en-US" altLang="zh-CN" sz="1000" i="1" dirty="0" err="1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Türkiye</a:t>
            </a:r>
            <a:r>
              <a:rPr lang="en-US" altLang="zh-CN" sz="1000" i="1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, Thailand, Indonesia and Vietnam. Enhance efficiency, reduce costs with instant software access and streamlined asset management and online RMA.</a:t>
            </a:r>
          </a:p>
          <a:p>
            <a:pPr lvl="0">
              <a:spcBef>
                <a:spcPts val="600"/>
              </a:spcBef>
              <a:defRPr/>
            </a:pPr>
            <a:r>
              <a:rPr lang="en-US" altLang="zh-CN" sz="1000" dirty="0"/>
              <a:t>② </a:t>
            </a:r>
            <a:r>
              <a:rPr lang="en-US" altLang="zh-CN" sz="1000" i="1" dirty="0" err="1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uijie</a:t>
            </a:r>
            <a:r>
              <a:rPr lang="en-US" altLang="zh-CN" sz="1000" i="1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Case Portal Platform</a:t>
            </a:r>
            <a:r>
              <a:rPr lang="zh-CN" altLang="en-US" sz="1000" i="1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：</a:t>
            </a:r>
            <a:r>
              <a:rPr lang="en-US" altLang="zh-CN" sz="1000" i="1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ncrease operational efficiency and lower operational costs with immediate online access to software as well as simplified asset tracking and online RMA</a:t>
            </a:r>
          </a:p>
        </p:txBody>
      </p:sp>
      <p:sp>
        <p:nvSpPr>
          <p:cNvPr id="12" name="圆角矩形 54">
            <a:extLst>
              <a:ext uri="{FF2B5EF4-FFF2-40B4-BE49-F238E27FC236}">
                <a16:creationId xmlns:a16="http://schemas.microsoft.com/office/drawing/2014/main" xmlns="" id="{318DE5CC-E95C-E84C-51C1-58A7D6D43406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18890" y="4399473"/>
            <a:ext cx="2808312" cy="504000"/>
          </a:xfrm>
          <a:prstGeom prst="roundRect">
            <a:avLst/>
          </a:prstGeom>
          <a:gradFill>
            <a:gsLst>
              <a:gs pos="100000">
                <a:srgbClr val="2BE5B3"/>
              </a:gs>
              <a:gs pos="21000">
                <a:srgbClr val="0055CC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Without Additional Charges</a:t>
            </a:r>
          </a:p>
        </p:txBody>
      </p:sp>
      <p:sp>
        <p:nvSpPr>
          <p:cNvPr id="13" name="圆角矩形 54">
            <a:extLst>
              <a:ext uri="{FF2B5EF4-FFF2-40B4-BE49-F238E27FC236}">
                <a16:creationId xmlns:a16="http://schemas.microsoft.com/office/drawing/2014/main" xmlns="" id="{0CAB0A55-6504-91AB-C000-3567B3A1371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8207722" y="4399473"/>
            <a:ext cx="2448272" cy="504000"/>
          </a:xfrm>
          <a:prstGeom prst="roundRect">
            <a:avLst/>
          </a:prstGeom>
          <a:gradFill>
            <a:gsLst>
              <a:gs pos="100000">
                <a:srgbClr val="2BE5B3"/>
              </a:gs>
              <a:gs pos="21000">
                <a:srgbClr val="0055CC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Higher Efficiency</a:t>
            </a:r>
          </a:p>
        </p:txBody>
      </p:sp>
      <p:sp>
        <p:nvSpPr>
          <p:cNvPr id="14" name="圆角矩形 54">
            <a:extLst>
              <a:ext uri="{FF2B5EF4-FFF2-40B4-BE49-F238E27FC236}">
                <a16:creationId xmlns:a16="http://schemas.microsoft.com/office/drawing/2014/main" xmlns="" id="{C1C4566F-E79E-6739-07A4-EE3A4ED034B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715334" y="4399473"/>
            <a:ext cx="2160240" cy="504000"/>
          </a:xfrm>
          <a:prstGeom prst="roundRect">
            <a:avLst/>
          </a:prstGeom>
          <a:gradFill>
            <a:gsLst>
              <a:gs pos="100000">
                <a:srgbClr val="2BE5B3"/>
              </a:gs>
              <a:gs pos="21000">
                <a:srgbClr val="0055CC"/>
              </a:gs>
            </a:gsLst>
            <a:lin ang="4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r>
              <a:rPr lang="en-US" altLang="zh-CN" sz="1400" b="1" dirty="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Faster Access</a:t>
            </a:r>
          </a:p>
        </p:txBody>
      </p:sp>
      <p:sp>
        <p:nvSpPr>
          <p:cNvPr id="15" name="文本占位符 2">
            <a:extLst>
              <a:ext uri="{FF2B5EF4-FFF2-40B4-BE49-F238E27FC236}">
                <a16:creationId xmlns:a16="http://schemas.microsoft.com/office/drawing/2014/main" xmlns="" id="{7E817D83-8F41-2437-C5BE-2842526EF96D}"/>
              </a:ext>
            </a:extLst>
          </p:cNvPr>
          <p:cNvSpPr txBox="1">
            <a:spLocks/>
          </p:cNvSpPr>
          <p:nvPr/>
        </p:nvSpPr>
        <p:spPr>
          <a:xfrm>
            <a:off x="285992" y="287759"/>
            <a:ext cx="9892810" cy="376242"/>
          </a:xfrm>
          <a:prstGeom prst="rect">
            <a:avLst/>
          </a:prstGeom>
        </p:spPr>
        <p:txBody>
          <a:bodyPr/>
          <a:lstStyle>
            <a:lvl1pPr marL="0" indent="0" algn="l" defTabSz="863600" rtl="0" eaLnBrk="1" latinLnBrk="0" hangingPunct="1">
              <a:lnSpc>
                <a:spcPct val="120000"/>
              </a:lnSpc>
              <a:spcBef>
                <a:spcPts val="945"/>
              </a:spcBef>
              <a:buFont typeface="Arial" panose="020B0604020202020204" pitchFamily="34" charset="0"/>
              <a:buNone/>
              <a:defRPr sz="1200" kern="1200">
                <a:solidFill>
                  <a:srgbClr val="50555A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431800" indent="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None/>
              <a:defRPr sz="2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1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19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437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8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86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04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22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800" dirty="0">
                <a:solidFill>
                  <a:schemeClr val="tx1"/>
                </a:solidFill>
                <a:latin typeface="Noto Sans Black" panose="020B0A02040504020204"/>
              </a:rPr>
              <a:t>Product Warranty &amp; </a:t>
            </a:r>
            <a:r>
              <a:rPr lang="en-US" altLang="zh-CN" sz="2800" dirty="0">
                <a:solidFill>
                  <a:srgbClr val="043CC1"/>
                </a:solidFill>
                <a:latin typeface="Noto Sans Black" panose="020B0A02040504020204"/>
              </a:rPr>
              <a:t>R-Care+ Service</a:t>
            </a:r>
            <a:endParaRPr lang="zh-CN" altLang="en-US" sz="2800" dirty="0">
              <a:solidFill>
                <a:srgbClr val="043CC1"/>
              </a:solidFill>
              <a:latin typeface="Noto Sans Black" panose="020B0A02040504020204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内容占位符 2"/>
          <p:cNvSpPr txBox="1"/>
          <p:nvPr/>
        </p:nvSpPr>
        <p:spPr>
          <a:xfrm>
            <a:off x="576734" y="1001836"/>
            <a:ext cx="10728066" cy="429947"/>
          </a:xfrm>
          <a:prstGeom prst="rect">
            <a:avLst/>
          </a:prstGeom>
        </p:spPr>
        <p:txBody>
          <a:bodyPr/>
          <a:lstStyle>
            <a:lvl1pPr marL="0" indent="0" algn="l" defTabSz="863600" rtl="0" eaLnBrk="1" latinLnBrk="0" hangingPunct="1">
              <a:lnSpc>
                <a:spcPct val="120000"/>
              </a:lnSpc>
              <a:spcBef>
                <a:spcPts val="945"/>
              </a:spcBef>
              <a:buFont typeface="Arial" panose="020B0604020202020204" pitchFamily="34" charset="0"/>
              <a:buNone/>
              <a:defRPr sz="1200" kern="1200">
                <a:solidFill>
                  <a:srgbClr val="50555A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431800" indent="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None/>
              <a:defRPr sz="2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1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19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437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8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86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04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22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altLang="zh-CN" sz="9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eturn Material Authorization: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altLang="zh-CN" sz="9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t is the main process for handling the repair or replace customer’s defective products during warranty or post warranty.</a:t>
            </a:r>
          </a:p>
        </p:txBody>
      </p:sp>
      <p:sp>
        <p:nvSpPr>
          <p:cNvPr id="18" name="文本框 17"/>
          <p:cNvSpPr txBox="1"/>
          <p:nvPr/>
        </p:nvSpPr>
        <p:spPr>
          <a:xfrm>
            <a:off x="589186" y="1381817"/>
            <a:ext cx="9863094" cy="4514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800"/>
              </a:lnSpc>
              <a:buSzPct val="25000"/>
            </a:pPr>
            <a:r>
              <a:rPr lang="en-US" altLang="zh-CN" sz="1400" b="1" i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Three types </a:t>
            </a:r>
            <a:r>
              <a:rPr lang="en-US" altLang="zh-CN" sz="1400" dirty="0">
                <a:solidFill>
                  <a:srgbClr val="45586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of RMA process respond</a:t>
            </a:r>
            <a:r>
              <a:rPr lang="en-US" altLang="zh-CN" sz="1400" b="1" i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n-US" altLang="zh-CN" sz="1400" dirty="0">
                <a:solidFill>
                  <a:srgbClr val="455866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to customer requirements.</a:t>
            </a:r>
          </a:p>
        </p:txBody>
      </p:sp>
      <p:grpSp>
        <p:nvGrpSpPr>
          <p:cNvPr id="19" name="组合 18"/>
          <p:cNvGrpSpPr/>
          <p:nvPr/>
        </p:nvGrpSpPr>
        <p:grpSpPr>
          <a:xfrm>
            <a:off x="1294954" y="1838602"/>
            <a:ext cx="9839594" cy="3837784"/>
            <a:chOff x="1056332" y="1673771"/>
            <a:chExt cx="11421806" cy="4454902"/>
          </a:xfrm>
        </p:grpSpPr>
        <p:sp>
          <p:nvSpPr>
            <p:cNvPr id="20" name="文本框 19"/>
            <p:cNvSpPr txBox="1"/>
            <p:nvPr/>
          </p:nvSpPr>
          <p:spPr>
            <a:xfrm>
              <a:off x="4730526" y="4123516"/>
              <a:ext cx="328474" cy="2858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zh-CN" sz="1000" kern="0" dirty="0">
                  <a:solidFill>
                    <a:srgbClr val="4E5865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N</a:t>
              </a:r>
              <a:endParaRPr kumimoji="1" lang="zh-CN" altLang="en-US" sz="1000" kern="0" dirty="0">
                <a:solidFill>
                  <a:srgbClr val="4E5865"/>
                </a:solidFill>
                <a:latin typeface="Noto Sans" panose="020B0502040504020204" pitchFamily="34" charset="0"/>
                <a:ea typeface="微软雅黑" panose="020B0503020204020204" charset="-122"/>
                <a:cs typeface="Noto Sans" panose="020B0502040504020204" pitchFamily="34" charset="0"/>
              </a:endParaRPr>
            </a:p>
          </p:txBody>
        </p:sp>
        <p:sp>
          <p:nvSpPr>
            <p:cNvPr id="21" name="可选流程 13"/>
            <p:cNvSpPr/>
            <p:nvPr/>
          </p:nvSpPr>
          <p:spPr>
            <a:xfrm>
              <a:off x="5453493" y="1673771"/>
              <a:ext cx="2139886" cy="289237"/>
            </a:xfrm>
            <a:prstGeom prst="flowChartAlternateProcess">
              <a:avLst/>
            </a:prstGeom>
            <a:noFill/>
            <a:ln w="19050" cap="flat" cmpd="sng" algn="ctr">
              <a:solidFill>
                <a:srgbClr val="566D8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kumimoji="1" lang="en-US" sz="1000" kern="0" dirty="0">
                  <a:solidFill>
                    <a:srgbClr val="4E5865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Submit RMA Application</a:t>
              </a:r>
              <a:endParaRPr kumimoji="1" sz="1000" kern="0" dirty="0">
                <a:solidFill>
                  <a:srgbClr val="4E5865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22" name="可选流程 13"/>
            <p:cNvSpPr/>
            <p:nvPr/>
          </p:nvSpPr>
          <p:spPr>
            <a:xfrm>
              <a:off x="5453729" y="2137489"/>
              <a:ext cx="2139315" cy="288542"/>
            </a:xfrm>
            <a:prstGeom prst="flowChartAlternateProcess">
              <a:avLst/>
            </a:prstGeom>
            <a:noFill/>
            <a:ln w="19050" cap="flat" cmpd="sng" algn="ctr">
              <a:solidFill>
                <a:srgbClr val="566D8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kumimoji="1" lang="en-US" sz="1000" kern="0" dirty="0">
                  <a:solidFill>
                    <a:srgbClr val="4E5865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Fault &amp; SLA </a:t>
              </a:r>
              <a:r>
                <a:rPr kumimoji="1" lang="en-US" altLang="zh-CN" sz="1000" kern="0" dirty="0">
                  <a:solidFill>
                    <a:srgbClr val="4E5865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Confirmation</a:t>
              </a:r>
              <a:endParaRPr kumimoji="1" sz="1000" kern="0" dirty="0">
                <a:solidFill>
                  <a:srgbClr val="4E5865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23" name="可选流程 13"/>
            <p:cNvSpPr/>
            <p:nvPr/>
          </p:nvSpPr>
          <p:spPr>
            <a:xfrm>
              <a:off x="1249378" y="2638388"/>
              <a:ext cx="2245260" cy="413528"/>
            </a:xfrm>
            <a:prstGeom prst="flowChartAlternateProcess">
              <a:avLst/>
            </a:prstGeom>
            <a:noFill/>
            <a:ln w="19050" cap="flat" cmpd="sng" algn="ctr">
              <a:solidFill>
                <a:srgbClr val="566D8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kumimoji="1" lang="en-US" sz="1000" kern="0" dirty="0">
                  <a:solidFill>
                    <a:srgbClr val="4E5865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Defective Part</a:t>
              </a:r>
              <a:r>
                <a:rPr kumimoji="1" lang="en-US" altLang="zh-CN" sz="1000" kern="0" dirty="0">
                  <a:solidFill>
                    <a:srgbClr val="4E5865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s</a:t>
              </a:r>
              <a:r>
                <a:rPr kumimoji="1" lang="en-US" sz="1000" kern="0" dirty="0">
                  <a:solidFill>
                    <a:srgbClr val="4E5865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</a:t>
              </a:r>
              <a:r>
                <a:rPr kumimoji="1" lang="en-US" altLang="zh-CN" sz="1000" kern="0" dirty="0">
                  <a:solidFill>
                    <a:srgbClr val="4E5865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Send </a:t>
              </a:r>
              <a:r>
                <a:rPr kumimoji="1" lang="en-US" sz="1000" kern="0" dirty="0">
                  <a:solidFill>
                    <a:srgbClr val="4E5865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Back</a:t>
              </a:r>
              <a:endParaRPr kumimoji="1" sz="1000" kern="0" dirty="0">
                <a:solidFill>
                  <a:srgbClr val="4E5865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24" name="可选流程 13"/>
            <p:cNvSpPr/>
            <p:nvPr/>
          </p:nvSpPr>
          <p:spPr>
            <a:xfrm>
              <a:off x="1249378" y="4240563"/>
              <a:ext cx="2245260" cy="415801"/>
            </a:xfrm>
            <a:prstGeom prst="flowChartAlternateProcess">
              <a:avLst/>
            </a:prstGeom>
            <a:solidFill>
              <a:srgbClr val="566D8D"/>
            </a:solidFill>
            <a:ln w="12700" cap="flat" cmpd="sng" algn="ctr">
              <a:solidFill>
                <a:sysClr val="window" lastClr="FFFFFF">
                  <a:lumMod val="6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kumimoji="1" lang="en-US" altLang="zh-CN" sz="1000" kern="0" dirty="0">
                  <a:solidFill>
                    <a:schemeClr val="bg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Replacement Part Ship Out</a:t>
              </a:r>
            </a:p>
          </p:txBody>
        </p:sp>
        <p:sp>
          <p:nvSpPr>
            <p:cNvPr id="25" name="可选流程 13"/>
            <p:cNvSpPr/>
            <p:nvPr/>
          </p:nvSpPr>
          <p:spPr>
            <a:xfrm>
              <a:off x="1367326" y="3434982"/>
              <a:ext cx="2012826" cy="321194"/>
            </a:xfrm>
            <a:prstGeom prst="flowChartAlternateProcess">
              <a:avLst/>
            </a:prstGeom>
            <a:solidFill>
              <a:srgbClr val="566D8D"/>
            </a:solidFill>
            <a:ln w="12700" cap="flat" cmpd="sng" algn="ctr">
              <a:solidFill>
                <a:sysClr val="window" lastClr="FFFFFF">
                  <a:lumMod val="6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kumimoji="1" lang="en-US" altLang="zh-CN" sz="1000" kern="0" dirty="0">
                  <a:solidFill>
                    <a:schemeClr val="bg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Warehouse Receipt</a:t>
              </a:r>
            </a:p>
          </p:txBody>
        </p:sp>
        <p:sp>
          <p:nvSpPr>
            <p:cNvPr id="26" name="可选流程 13"/>
            <p:cNvSpPr/>
            <p:nvPr/>
          </p:nvSpPr>
          <p:spPr>
            <a:xfrm>
              <a:off x="1367326" y="5201638"/>
              <a:ext cx="2012826" cy="346611"/>
            </a:xfrm>
            <a:prstGeom prst="flowChartAlternateProcess">
              <a:avLst/>
            </a:prstGeom>
            <a:noFill/>
            <a:ln w="19050" cap="flat" cmpd="sng" algn="ctr">
              <a:solidFill>
                <a:srgbClr val="566D8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kumimoji="1" lang="en-US" sz="1000" kern="0" dirty="0">
                  <a:solidFill>
                    <a:srgbClr val="4E5865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C</a:t>
              </a:r>
              <a:r>
                <a:rPr kumimoji="1" lang="en-US" altLang="zh-CN" sz="1000" kern="0" dirty="0">
                  <a:solidFill>
                    <a:srgbClr val="4E5865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ustomer Receipt</a:t>
              </a:r>
              <a:endParaRPr kumimoji="1" sz="1000" kern="0" dirty="0">
                <a:solidFill>
                  <a:srgbClr val="4E5865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27" name="可选流程 13"/>
            <p:cNvSpPr/>
            <p:nvPr/>
          </p:nvSpPr>
          <p:spPr>
            <a:xfrm>
              <a:off x="8718488" y="2656118"/>
              <a:ext cx="2308634" cy="383089"/>
            </a:xfrm>
            <a:prstGeom prst="flowChartAlternateProcess">
              <a:avLst/>
            </a:prstGeom>
            <a:noFill/>
            <a:ln w="19050" cap="flat" cmpd="sng" algn="ctr">
              <a:solidFill>
                <a:srgbClr val="566D8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kumimoji="1" lang="en-US" altLang="zh-CN" sz="1000" kern="0" dirty="0">
                  <a:solidFill>
                    <a:srgbClr val="4E5865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Replacement</a:t>
              </a:r>
              <a:r>
                <a:rPr kumimoji="1" lang="en-US" sz="1000" kern="0" dirty="0">
                  <a:solidFill>
                    <a:srgbClr val="4E5865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Part Ship O</a:t>
              </a:r>
              <a:r>
                <a:rPr kumimoji="1" lang="en-US" sz="1000" kern="0" dirty="0" err="1">
                  <a:solidFill>
                    <a:srgbClr val="4E5865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ut</a:t>
              </a:r>
              <a:endParaRPr kumimoji="1" sz="1000" kern="0" dirty="0">
                <a:solidFill>
                  <a:srgbClr val="4E5865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cxnSp>
          <p:nvCxnSpPr>
            <p:cNvPr id="28" name="肘形连接符 27"/>
            <p:cNvCxnSpPr>
              <a:stCxn id="22" idx="3"/>
              <a:endCxn id="27" idx="0"/>
            </p:cNvCxnSpPr>
            <p:nvPr/>
          </p:nvCxnSpPr>
          <p:spPr>
            <a:xfrm>
              <a:off x="7593044" y="2281760"/>
              <a:ext cx="2279761" cy="374358"/>
            </a:xfrm>
            <a:prstGeom prst="bentConnector2">
              <a:avLst/>
            </a:prstGeom>
            <a:ln>
              <a:solidFill>
                <a:srgbClr val="4E5865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直接箭头连接符 28"/>
            <p:cNvCxnSpPr>
              <a:stCxn id="21" idx="2"/>
              <a:endCxn id="22" idx="0"/>
            </p:cNvCxnSpPr>
            <p:nvPr/>
          </p:nvCxnSpPr>
          <p:spPr>
            <a:xfrm flipH="1">
              <a:off x="6523387" y="1963008"/>
              <a:ext cx="49" cy="174481"/>
            </a:xfrm>
            <a:prstGeom prst="straightConnector1">
              <a:avLst/>
            </a:prstGeom>
            <a:ln>
              <a:solidFill>
                <a:srgbClr val="4E5865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肘形连接符 29"/>
            <p:cNvCxnSpPr>
              <a:stCxn id="22" idx="1"/>
              <a:endCxn id="23" idx="0"/>
            </p:cNvCxnSpPr>
            <p:nvPr/>
          </p:nvCxnSpPr>
          <p:spPr>
            <a:xfrm rot="10800000" flipV="1">
              <a:off x="2372009" y="2281760"/>
              <a:ext cx="3081721" cy="356628"/>
            </a:xfrm>
            <a:prstGeom prst="bentConnector2">
              <a:avLst/>
            </a:prstGeom>
            <a:ln>
              <a:solidFill>
                <a:srgbClr val="4E5865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直接箭头连接符 30"/>
            <p:cNvCxnSpPr>
              <a:stCxn id="25" idx="2"/>
              <a:endCxn id="24" idx="0"/>
            </p:cNvCxnSpPr>
            <p:nvPr/>
          </p:nvCxnSpPr>
          <p:spPr>
            <a:xfrm flipH="1">
              <a:off x="2372008" y="3756176"/>
              <a:ext cx="1731" cy="484387"/>
            </a:xfrm>
            <a:prstGeom prst="straightConnector1">
              <a:avLst/>
            </a:prstGeom>
            <a:ln>
              <a:solidFill>
                <a:srgbClr val="4E5865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直接箭头连接符 31"/>
            <p:cNvCxnSpPr>
              <a:stCxn id="23" idx="2"/>
              <a:endCxn id="25" idx="0"/>
            </p:cNvCxnSpPr>
            <p:nvPr/>
          </p:nvCxnSpPr>
          <p:spPr>
            <a:xfrm>
              <a:off x="2372008" y="3051916"/>
              <a:ext cx="1731" cy="383066"/>
            </a:xfrm>
            <a:prstGeom prst="straightConnector1">
              <a:avLst/>
            </a:prstGeom>
            <a:ln>
              <a:solidFill>
                <a:srgbClr val="4E5865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直接箭头连接符 32"/>
            <p:cNvCxnSpPr>
              <a:stCxn id="24" idx="2"/>
              <a:endCxn id="26" idx="0"/>
            </p:cNvCxnSpPr>
            <p:nvPr/>
          </p:nvCxnSpPr>
          <p:spPr>
            <a:xfrm>
              <a:off x="2372008" y="4656364"/>
              <a:ext cx="1731" cy="545274"/>
            </a:xfrm>
            <a:prstGeom prst="straightConnector1">
              <a:avLst/>
            </a:prstGeom>
            <a:ln>
              <a:solidFill>
                <a:srgbClr val="4E5865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直接箭头连接符 33"/>
            <p:cNvCxnSpPr>
              <a:stCxn id="27" idx="2"/>
              <a:endCxn id="55" idx="0"/>
            </p:cNvCxnSpPr>
            <p:nvPr/>
          </p:nvCxnSpPr>
          <p:spPr>
            <a:xfrm>
              <a:off x="9872805" y="3039207"/>
              <a:ext cx="8900" cy="209649"/>
            </a:xfrm>
            <a:prstGeom prst="straightConnector1">
              <a:avLst/>
            </a:prstGeom>
            <a:ln>
              <a:solidFill>
                <a:srgbClr val="4E5865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可选流程 13"/>
            <p:cNvSpPr/>
            <p:nvPr/>
          </p:nvSpPr>
          <p:spPr>
            <a:xfrm>
              <a:off x="8727541" y="3904618"/>
              <a:ext cx="2308634" cy="351287"/>
            </a:xfrm>
            <a:prstGeom prst="flowChartAlternateProcess">
              <a:avLst/>
            </a:prstGeom>
            <a:solidFill>
              <a:srgbClr val="566D8D"/>
            </a:solidFill>
            <a:ln w="12700" cap="flat" cmpd="sng" algn="ctr">
              <a:solidFill>
                <a:sysClr val="window" lastClr="FFFFFF">
                  <a:lumMod val="6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kumimoji="1" lang="en-US" altLang="zh-CN" sz="1000" kern="0" dirty="0">
                  <a:solidFill>
                    <a:schemeClr val="bg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Defective</a:t>
              </a:r>
              <a:r>
                <a:rPr kumimoji="1" lang="en-US" sz="1000" kern="0" dirty="0">
                  <a:solidFill>
                    <a:schemeClr val="bg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Parts Sent Back</a:t>
              </a:r>
              <a:endParaRPr kumimoji="1" sz="1000" kern="0" dirty="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36" name="可选流程 13"/>
            <p:cNvSpPr/>
            <p:nvPr/>
          </p:nvSpPr>
          <p:spPr>
            <a:xfrm>
              <a:off x="8852144" y="5183006"/>
              <a:ext cx="2060836" cy="336954"/>
            </a:xfrm>
            <a:prstGeom prst="flowChartAlternateProcess">
              <a:avLst/>
            </a:prstGeom>
            <a:noFill/>
            <a:ln w="19050" cap="flat" cmpd="sng" algn="ctr">
              <a:solidFill>
                <a:srgbClr val="566D8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kumimoji="1" lang="en-US" sz="1000" kern="0" dirty="0">
                  <a:solidFill>
                    <a:srgbClr val="4E5865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Warehouse </a:t>
              </a:r>
              <a:r>
                <a:rPr kumimoji="1" lang="en-US" altLang="zh-CN" sz="1000" kern="0" dirty="0">
                  <a:solidFill>
                    <a:srgbClr val="4E5865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Receipt</a:t>
              </a:r>
            </a:p>
          </p:txBody>
        </p:sp>
        <p:cxnSp>
          <p:nvCxnSpPr>
            <p:cNvPr id="37" name="直接箭头连接符 36"/>
            <p:cNvCxnSpPr>
              <a:stCxn id="35" idx="2"/>
              <a:endCxn id="36" idx="0"/>
            </p:cNvCxnSpPr>
            <p:nvPr/>
          </p:nvCxnSpPr>
          <p:spPr>
            <a:xfrm>
              <a:off x="9881858" y="4255905"/>
              <a:ext cx="704" cy="927101"/>
            </a:xfrm>
            <a:prstGeom prst="straightConnector1">
              <a:avLst/>
            </a:prstGeom>
            <a:ln>
              <a:solidFill>
                <a:srgbClr val="4E5865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可选流程 13"/>
            <p:cNvSpPr/>
            <p:nvPr/>
          </p:nvSpPr>
          <p:spPr>
            <a:xfrm>
              <a:off x="5453729" y="2621021"/>
              <a:ext cx="2139650" cy="292784"/>
            </a:xfrm>
            <a:prstGeom prst="flowChartAlternateProcess">
              <a:avLst/>
            </a:prstGeom>
            <a:noFill/>
            <a:ln w="19050" cap="flat" cmpd="sng" algn="ctr">
              <a:solidFill>
                <a:srgbClr val="566D8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kumimoji="1" lang="en-US" sz="1000" kern="0" dirty="0">
                  <a:solidFill>
                    <a:srgbClr val="4E5865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S</a:t>
              </a:r>
              <a:r>
                <a:rPr kumimoji="1" lang="en-US" altLang="zh-CN" sz="1000" kern="0" dirty="0">
                  <a:solidFill>
                    <a:srgbClr val="4E5865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end Defective</a:t>
              </a:r>
              <a:r>
                <a:rPr kumimoji="1" lang="en-US" sz="1000" kern="0" dirty="0">
                  <a:solidFill>
                    <a:srgbClr val="4E5865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Part</a:t>
              </a:r>
              <a:r>
                <a:rPr kumimoji="1" lang="en-US" altLang="zh-CN" sz="1000" kern="0" dirty="0">
                  <a:solidFill>
                    <a:srgbClr val="4E5865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s</a:t>
              </a:r>
              <a:r>
                <a:rPr kumimoji="1" lang="en-US" sz="1000" kern="0" dirty="0">
                  <a:solidFill>
                    <a:srgbClr val="4E5865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Back</a:t>
              </a:r>
              <a:endParaRPr kumimoji="1" sz="1000" kern="0" dirty="0">
                <a:solidFill>
                  <a:srgbClr val="4E5865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39" name="可选流程 13"/>
            <p:cNvSpPr/>
            <p:nvPr/>
          </p:nvSpPr>
          <p:spPr>
            <a:xfrm>
              <a:off x="5453729" y="3120113"/>
              <a:ext cx="2139315" cy="288320"/>
            </a:xfrm>
            <a:prstGeom prst="flowChartAlternateProcess">
              <a:avLst/>
            </a:prstGeom>
            <a:noFill/>
            <a:ln w="19050" cap="flat" cmpd="sng" algn="ctr">
              <a:solidFill>
                <a:srgbClr val="566D8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kumimoji="1" lang="en-US" altLang="zh-CN" sz="1000" kern="0" dirty="0">
                  <a:solidFill>
                    <a:srgbClr val="4E5865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Warehouse Receipt</a:t>
              </a:r>
            </a:p>
          </p:txBody>
        </p:sp>
        <p:sp>
          <p:nvSpPr>
            <p:cNvPr id="40" name="可选流程 13"/>
            <p:cNvSpPr/>
            <p:nvPr/>
          </p:nvSpPr>
          <p:spPr>
            <a:xfrm>
              <a:off x="5453729" y="4423329"/>
              <a:ext cx="2139315" cy="321613"/>
            </a:xfrm>
            <a:prstGeom prst="flowChartAlternateProcess">
              <a:avLst/>
            </a:prstGeom>
            <a:noFill/>
            <a:ln w="19050" cap="flat" cmpd="sng" algn="ctr">
              <a:solidFill>
                <a:srgbClr val="566D8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kumimoji="1" lang="en-US" sz="1000" kern="0" dirty="0">
                  <a:solidFill>
                    <a:srgbClr val="4E5865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R</a:t>
              </a:r>
              <a:r>
                <a:rPr kumimoji="1" lang="en-US" altLang="zh-CN" sz="1000" kern="0" dirty="0">
                  <a:solidFill>
                    <a:srgbClr val="4E5865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epaired Part S</a:t>
              </a:r>
              <a:r>
                <a:rPr kumimoji="1" lang="en-US" sz="1000" kern="0" dirty="0">
                  <a:solidFill>
                    <a:srgbClr val="4E5865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hip O</a:t>
              </a:r>
              <a:r>
                <a:rPr kumimoji="1" lang="en-US" altLang="zh-CN" sz="1000" kern="0" dirty="0">
                  <a:solidFill>
                    <a:srgbClr val="4E5865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ut</a:t>
              </a:r>
              <a:endParaRPr kumimoji="1" sz="1000" kern="0" dirty="0">
                <a:solidFill>
                  <a:srgbClr val="4E5865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cxnSp>
          <p:nvCxnSpPr>
            <p:cNvPr id="41" name="直接箭头连接符 40"/>
            <p:cNvCxnSpPr>
              <a:stCxn id="39" idx="2"/>
              <a:endCxn id="44" idx="0"/>
            </p:cNvCxnSpPr>
            <p:nvPr/>
          </p:nvCxnSpPr>
          <p:spPr>
            <a:xfrm flipH="1">
              <a:off x="6522970" y="3408433"/>
              <a:ext cx="417" cy="200642"/>
            </a:xfrm>
            <a:prstGeom prst="straightConnector1">
              <a:avLst/>
            </a:prstGeom>
            <a:ln>
              <a:solidFill>
                <a:srgbClr val="4E5865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直接箭头连接符 41"/>
            <p:cNvCxnSpPr>
              <a:stCxn id="38" idx="2"/>
              <a:endCxn id="39" idx="0"/>
            </p:cNvCxnSpPr>
            <p:nvPr/>
          </p:nvCxnSpPr>
          <p:spPr>
            <a:xfrm flipH="1">
              <a:off x="6523387" y="2913805"/>
              <a:ext cx="167" cy="206308"/>
            </a:xfrm>
            <a:prstGeom prst="straightConnector1">
              <a:avLst/>
            </a:prstGeom>
            <a:ln>
              <a:solidFill>
                <a:srgbClr val="4E5865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直接箭头连接符 42"/>
            <p:cNvCxnSpPr>
              <a:stCxn id="44" idx="2"/>
              <a:endCxn id="40" idx="0"/>
            </p:cNvCxnSpPr>
            <p:nvPr/>
          </p:nvCxnSpPr>
          <p:spPr>
            <a:xfrm>
              <a:off x="6522970" y="4137632"/>
              <a:ext cx="417" cy="285697"/>
            </a:xfrm>
            <a:prstGeom prst="straightConnector1">
              <a:avLst/>
            </a:prstGeom>
            <a:ln>
              <a:solidFill>
                <a:srgbClr val="4E5865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菱形 43"/>
            <p:cNvSpPr/>
            <p:nvPr/>
          </p:nvSpPr>
          <p:spPr>
            <a:xfrm>
              <a:off x="5195918" y="3609075"/>
              <a:ext cx="2654103" cy="528557"/>
            </a:xfrm>
            <a:prstGeom prst="diamond">
              <a:avLst/>
            </a:prstGeom>
            <a:noFill/>
            <a:ln w="19050">
              <a:solidFill>
                <a:srgbClr val="566D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kumimoji="1" lang="en-US" altLang="zh-CN" sz="1000" kern="0" dirty="0">
                  <a:solidFill>
                    <a:srgbClr val="4E5865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Defective Parts Repaired</a:t>
              </a:r>
              <a:endParaRPr lang="zh-CN" altLang="en-US" sz="1000" dirty="0">
                <a:solidFill>
                  <a:prstClr val="white"/>
                </a:solidFill>
                <a:latin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45" name="文本框 44"/>
            <p:cNvSpPr txBox="1"/>
            <p:nvPr/>
          </p:nvSpPr>
          <p:spPr>
            <a:xfrm>
              <a:off x="6194962" y="4148704"/>
              <a:ext cx="328474" cy="2858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zh-CN" sz="1000" kern="0" dirty="0">
                  <a:solidFill>
                    <a:srgbClr val="4E5865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Y</a:t>
              </a:r>
              <a:endParaRPr kumimoji="1" lang="zh-CN" altLang="en-US" sz="1000" kern="0" dirty="0">
                <a:solidFill>
                  <a:srgbClr val="4E5865"/>
                </a:solidFill>
                <a:latin typeface="Noto Sans" panose="020B0502040504020204" pitchFamily="34" charset="0"/>
                <a:ea typeface="微软雅黑" panose="020B0503020204020204" charset="-122"/>
                <a:cs typeface="Noto Sans" panose="020B0502040504020204" pitchFamily="34" charset="0"/>
              </a:endParaRPr>
            </a:p>
          </p:txBody>
        </p:sp>
        <p:sp>
          <p:nvSpPr>
            <p:cNvPr id="46" name="可选流程 13"/>
            <p:cNvSpPr/>
            <p:nvPr/>
          </p:nvSpPr>
          <p:spPr>
            <a:xfrm>
              <a:off x="3892990" y="4830147"/>
              <a:ext cx="2218099" cy="278312"/>
            </a:xfrm>
            <a:prstGeom prst="flowChartAlternateProcess">
              <a:avLst/>
            </a:prstGeom>
            <a:noFill/>
            <a:ln w="19050" cap="flat" cmpd="sng" algn="ctr">
              <a:solidFill>
                <a:srgbClr val="566D8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kumimoji="1" lang="en-US" altLang="zh-CN" sz="1000" kern="0" dirty="0">
                  <a:solidFill>
                    <a:srgbClr val="4E5865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Replacement Part S</a:t>
              </a:r>
              <a:r>
                <a:rPr kumimoji="1" lang="en-US" sz="1000" kern="0" dirty="0">
                  <a:solidFill>
                    <a:srgbClr val="4E5865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hip O</a:t>
              </a:r>
              <a:r>
                <a:rPr kumimoji="1" lang="en-US" altLang="zh-CN" sz="1000" kern="0" dirty="0">
                  <a:solidFill>
                    <a:srgbClr val="4E5865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ut</a:t>
              </a:r>
              <a:endParaRPr kumimoji="1" sz="1000" kern="0" dirty="0">
                <a:solidFill>
                  <a:srgbClr val="4E5865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cxnSp>
          <p:nvCxnSpPr>
            <p:cNvPr id="47" name="肘形连接符 46"/>
            <p:cNvCxnSpPr>
              <a:stCxn id="44" idx="1"/>
              <a:endCxn id="46" idx="0"/>
            </p:cNvCxnSpPr>
            <p:nvPr/>
          </p:nvCxnSpPr>
          <p:spPr>
            <a:xfrm rot="10800000" flipV="1">
              <a:off x="5002040" y="3873353"/>
              <a:ext cx="193878" cy="956793"/>
            </a:xfrm>
            <a:prstGeom prst="bentConnector2">
              <a:avLst/>
            </a:prstGeom>
            <a:ln>
              <a:solidFill>
                <a:srgbClr val="4E5865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可选流程 13"/>
            <p:cNvSpPr/>
            <p:nvPr/>
          </p:nvSpPr>
          <p:spPr>
            <a:xfrm>
              <a:off x="5300703" y="5208246"/>
              <a:ext cx="2464366" cy="309859"/>
            </a:xfrm>
            <a:prstGeom prst="flowChartAlternateProcess">
              <a:avLst/>
            </a:prstGeom>
            <a:noFill/>
            <a:ln w="19050" cap="flat" cmpd="sng" algn="ctr">
              <a:solidFill>
                <a:srgbClr val="566D8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kumimoji="1" lang="en-US" sz="1000" kern="0" dirty="0">
                  <a:solidFill>
                    <a:srgbClr val="4E5865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C</a:t>
              </a:r>
              <a:r>
                <a:rPr kumimoji="1" lang="en-US" altLang="zh-CN" sz="1000" kern="0" dirty="0">
                  <a:solidFill>
                    <a:srgbClr val="4E5865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ustomer Receipt</a:t>
              </a:r>
              <a:endParaRPr kumimoji="1" sz="1000" kern="0" dirty="0">
                <a:solidFill>
                  <a:srgbClr val="4E5865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cxnSp>
          <p:nvCxnSpPr>
            <p:cNvPr id="49" name="直接箭头连接符 48"/>
            <p:cNvCxnSpPr>
              <a:stCxn id="40" idx="2"/>
              <a:endCxn id="48" idx="0"/>
            </p:cNvCxnSpPr>
            <p:nvPr/>
          </p:nvCxnSpPr>
          <p:spPr>
            <a:xfrm>
              <a:off x="6523387" y="4744942"/>
              <a:ext cx="9499" cy="463304"/>
            </a:xfrm>
            <a:prstGeom prst="straightConnector1">
              <a:avLst/>
            </a:prstGeom>
            <a:ln>
              <a:solidFill>
                <a:srgbClr val="4E5865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肘形连接符 49"/>
            <p:cNvCxnSpPr>
              <a:stCxn id="46" idx="2"/>
              <a:endCxn id="48" idx="1"/>
            </p:cNvCxnSpPr>
            <p:nvPr/>
          </p:nvCxnSpPr>
          <p:spPr>
            <a:xfrm rot="16200000" flipH="1">
              <a:off x="5024013" y="5086485"/>
              <a:ext cx="254717" cy="298663"/>
            </a:xfrm>
            <a:prstGeom prst="bentConnector2">
              <a:avLst/>
            </a:prstGeom>
            <a:ln>
              <a:solidFill>
                <a:srgbClr val="4E5865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直接箭头连接符 50"/>
            <p:cNvCxnSpPr>
              <a:stCxn id="22" idx="2"/>
              <a:endCxn id="38" idx="0"/>
            </p:cNvCxnSpPr>
            <p:nvPr/>
          </p:nvCxnSpPr>
          <p:spPr>
            <a:xfrm>
              <a:off x="6523387" y="2426031"/>
              <a:ext cx="167" cy="194990"/>
            </a:xfrm>
            <a:prstGeom prst="straightConnector1">
              <a:avLst/>
            </a:prstGeom>
            <a:ln>
              <a:solidFill>
                <a:srgbClr val="4E5865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矩形 51"/>
            <p:cNvSpPr/>
            <p:nvPr/>
          </p:nvSpPr>
          <p:spPr>
            <a:xfrm>
              <a:off x="1056332" y="5767638"/>
              <a:ext cx="2631352" cy="285813"/>
            </a:xfrm>
            <a:prstGeom prst="rect">
              <a:avLst/>
            </a:prstGeom>
            <a:solidFill>
              <a:srgbClr val="C00000"/>
            </a:solidFill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z="1000" kern="0" dirty="0">
                  <a:solidFill>
                    <a:schemeClr val="bg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Arial" panose="020B0604020202020204" pitchFamily="34" charset="0"/>
                </a:rPr>
                <a:t>One-to-One Replacement Service </a:t>
              </a:r>
              <a:endParaRPr lang="zh-CN" altLang="en-US" sz="1000" dirty="0">
                <a:solidFill>
                  <a:schemeClr val="bg1"/>
                </a:solidFill>
                <a:latin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53" name="矩形 52"/>
            <p:cNvSpPr/>
            <p:nvPr/>
          </p:nvSpPr>
          <p:spPr>
            <a:xfrm>
              <a:off x="5258931" y="5767638"/>
              <a:ext cx="2434256" cy="285813"/>
            </a:xfrm>
            <a:prstGeom prst="rect">
              <a:avLst/>
            </a:prstGeom>
            <a:solidFill>
              <a:srgbClr val="C00000"/>
            </a:solidFill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1000" kern="0" dirty="0">
                  <a:solidFill>
                    <a:schemeClr val="bg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Arial" panose="020B0604020202020204" pitchFamily="34" charset="0"/>
                </a:rPr>
                <a:t>Return for Repair (RFR) Service</a:t>
              </a:r>
              <a:r>
                <a:rPr lang="en-US" altLang="zh-CN" sz="1000" kern="0" baseline="30000" dirty="0">
                  <a:solidFill>
                    <a:schemeClr val="bg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Arial" panose="020B0604020202020204" pitchFamily="34" charset="0"/>
                </a:rPr>
                <a:t> </a:t>
              </a:r>
              <a:endParaRPr lang="zh-CN" altLang="zh-CN" sz="1000" kern="100" dirty="0">
                <a:solidFill>
                  <a:schemeClr val="bg1"/>
                </a:solidFill>
                <a:latin typeface="Noto Sans" panose="020B0502040504020204" pitchFamily="34" charset="0"/>
                <a:ea typeface="微软雅黑" panose="020B0503020204020204" charset="-122"/>
                <a:cs typeface="Noto Sans" panose="020B0502040504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4" name="矩形 53"/>
            <p:cNvSpPr/>
            <p:nvPr/>
          </p:nvSpPr>
          <p:spPr>
            <a:xfrm>
              <a:off x="8612823" y="5667008"/>
              <a:ext cx="2539478" cy="461665"/>
            </a:xfrm>
            <a:prstGeom prst="rect">
              <a:avLst/>
            </a:prstGeom>
            <a:solidFill>
              <a:srgbClr val="C00000"/>
            </a:solidFill>
          </p:spPr>
          <p:txBody>
            <a:bodyPr wrap="none">
              <a:spAutoFit/>
            </a:bodyPr>
            <a:lstStyle/>
            <a:p>
              <a:pPr algn="ctr"/>
              <a:r>
                <a:rPr lang="en-US" altLang="zh-CN" sz="1000" kern="0" dirty="0">
                  <a:solidFill>
                    <a:schemeClr val="bg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Arial" panose="020B0604020202020204" pitchFamily="34" charset="0"/>
                </a:rPr>
                <a:t>Advance Hardware Replacement</a:t>
              </a:r>
            </a:p>
            <a:p>
              <a:pPr algn="ctr"/>
              <a:r>
                <a:rPr lang="en-US" altLang="zh-CN" sz="1000" kern="0" dirty="0">
                  <a:solidFill>
                    <a:schemeClr val="bg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Arial" panose="020B0604020202020204" pitchFamily="34" charset="0"/>
                </a:rPr>
                <a:t> (AHR) Service</a:t>
              </a:r>
              <a:r>
                <a:rPr lang="en-US" altLang="zh-CN" sz="1000" kern="0" baseline="30000" dirty="0">
                  <a:solidFill>
                    <a:schemeClr val="bg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Arial" panose="020B0604020202020204" pitchFamily="34" charset="0"/>
                </a:rPr>
                <a:t> </a:t>
              </a:r>
              <a:endParaRPr lang="zh-CN" altLang="zh-CN" sz="1000" kern="100" dirty="0">
                <a:solidFill>
                  <a:schemeClr val="bg1"/>
                </a:solidFill>
                <a:latin typeface="Noto Sans" panose="020B0502040504020204" pitchFamily="34" charset="0"/>
                <a:ea typeface="微软雅黑" panose="020B0503020204020204" charset="-122"/>
                <a:cs typeface="Noto Sans" panose="020B0502040504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55" name="可选流程 13"/>
            <p:cNvSpPr/>
            <p:nvPr/>
          </p:nvSpPr>
          <p:spPr>
            <a:xfrm>
              <a:off x="8841884" y="3248856"/>
              <a:ext cx="2079641" cy="365370"/>
            </a:xfrm>
            <a:prstGeom prst="flowChartAlternateProcess">
              <a:avLst/>
            </a:prstGeom>
            <a:noFill/>
            <a:ln w="19050" cap="flat" cmpd="sng" algn="ctr">
              <a:solidFill>
                <a:srgbClr val="566D8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kumimoji="1" lang="en-US" sz="1000" kern="0" dirty="0">
                  <a:solidFill>
                    <a:srgbClr val="4E5865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C</a:t>
              </a:r>
              <a:r>
                <a:rPr kumimoji="1" lang="en-US" altLang="zh-CN" sz="1000" kern="0" dirty="0">
                  <a:solidFill>
                    <a:srgbClr val="4E5865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ustomer Receipt</a:t>
              </a:r>
              <a:endParaRPr kumimoji="1" sz="1000" kern="0" dirty="0">
                <a:solidFill>
                  <a:srgbClr val="4E5865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cxnSp>
          <p:nvCxnSpPr>
            <p:cNvPr id="56" name="直接箭头连接符 55"/>
            <p:cNvCxnSpPr>
              <a:stCxn id="55" idx="2"/>
              <a:endCxn id="35" idx="0"/>
            </p:cNvCxnSpPr>
            <p:nvPr/>
          </p:nvCxnSpPr>
          <p:spPr>
            <a:xfrm>
              <a:off x="9881705" y="3614226"/>
              <a:ext cx="153" cy="290392"/>
            </a:xfrm>
            <a:prstGeom prst="straightConnector1">
              <a:avLst/>
            </a:prstGeom>
            <a:ln>
              <a:solidFill>
                <a:srgbClr val="4E5865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可选流程 13"/>
            <p:cNvSpPr/>
            <p:nvPr/>
          </p:nvSpPr>
          <p:spPr>
            <a:xfrm>
              <a:off x="2456158" y="3777798"/>
              <a:ext cx="1948671" cy="416098"/>
            </a:xfrm>
            <a:prstGeom prst="flowChartAlternateProcess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kumimoji="1" lang="en-US" altLang="zh-CN" sz="1000" kern="0" dirty="0">
                  <a:solidFill>
                    <a:srgbClr val="C00000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These two steps are operated by local ASP</a:t>
              </a:r>
            </a:p>
          </p:txBody>
        </p:sp>
        <p:sp>
          <p:nvSpPr>
            <p:cNvPr id="58" name="五角星 57"/>
            <p:cNvSpPr/>
            <p:nvPr/>
          </p:nvSpPr>
          <p:spPr>
            <a:xfrm>
              <a:off x="2420689" y="3888617"/>
              <a:ext cx="168373" cy="176403"/>
            </a:xfrm>
            <a:prstGeom prst="star5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00">
                <a:solidFill>
                  <a:prstClr val="white"/>
                </a:solidFill>
                <a:latin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59" name="可选流程 13"/>
            <p:cNvSpPr/>
            <p:nvPr/>
          </p:nvSpPr>
          <p:spPr>
            <a:xfrm>
              <a:off x="10250894" y="4468510"/>
              <a:ext cx="2227244" cy="416098"/>
            </a:xfrm>
            <a:prstGeom prst="flowChartAlternateProcess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kumimoji="1" lang="en-US" altLang="zh-CN" sz="1000" kern="0" dirty="0">
                  <a:solidFill>
                    <a:srgbClr val="C00000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Defective parts can be sent to </a:t>
              </a:r>
              <a:r>
                <a:rPr kumimoji="1" lang="en-US" altLang="zh-CN" sz="1000" kern="0" dirty="0" err="1">
                  <a:solidFill>
                    <a:srgbClr val="C00000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Ruijie</a:t>
              </a:r>
              <a:r>
                <a:rPr kumimoji="1" lang="en-US" altLang="zh-CN" sz="1000" kern="0" dirty="0">
                  <a:solidFill>
                    <a:srgbClr val="C00000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WH by customer or </a:t>
              </a:r>
              <a:r>
                <a:rPr kumimoji="1" lang="en-US" altLang="zh-CN" sz="1000" kern="0" dirty="0" err="1">
                  <a:solidFill>
                    <a:srgbClr val="C00000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Ruijie</a:t>
              </a:r>
              <a:r>
                <a:rPr kumimoji="1" lang="en-US" altLang="zh-CN" sz="1000" kern="0" dirty="0">
                  <a:solidFill>
                    <a:srgbClr val="C00000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 arrange logistics pick up within 15CD</a:t>
              </a:r>
            </a:p>
          </p:txBody>
        </p:sp>
        <p:sp>
          <p:nvSpPr>
            <p:cNvPr id="60" name="五角星 59"/>
            <p:cNvSpPr/>
            <p:nvPr/>
          </p:nvSpPr>
          <p:spPr>
            <a:xfrm>
              <a:off x="10145211" y="4380308"/>
              <a:ext cx="168373" cy="176403"/>
            </a:xfrm>
            <a:prstGeom prst="star5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00">
                <a:solidFill>
                  <a:prstClr val="white"/>
                </a:solidFill>
                <a:latin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</p:grpSp>
      <p:sp>
        <p:nvSpPr>
          <p:cNvPr id="62" name="文本占位符 2">
            <a:extLst>
              <a:ext uri="{FF2B5EF4-FFF2-40B4-BE49-F238E27FC236}">
                <a16:creationId xmlns:a16="http://schemas.microsoft.com/office/drawing/2014/main" xmlns="" id="{7E817D83-8F41-2437-C5BE-2842526EF96D}"/>
              </a:ext>
            </a:extLst>
          </p:cNvPr>
          <p:cNvSpPr txBox="1">
            <a:spLocks/>
          </p:cNvSpPr>
          <p:nvPr/>
        </p:nvSpPr>
        <p:spPr>
          <a:xfrm>
            <a:off x="285992" y="287759"/>
            <a:ext cx="9892810" cy="376242"/>
          </a:xfrm>
          <a:prstGeom prst="rect">
            <a:avLst/>
          </a:prstGeom>
        </p:spPr>
        <p:txBody>
          <a:bodyPr/>
          <a:lstStyle>
            <a:lvl1pPr marL="0" indent="0" algn="l" defTabSz="863600" rtl="0" eaLnBrk="1" latinLnBrk="0" hangingPunct="1">
              <a:lnSpc>
                <a:spcPct val="120000"/>
              </a:lnSpc>
              <a:spcBef>
                <a:spcPts val="945"/>
              </a:spcBef>
              <a:buFont typeface="Arial" panose="020B0604020202020204" pitchFamily="34" charset="0"/>
              <a:buNone/>
              <a:defRPr sz="1200" kern="1200">
                <a:solidFill>
                  <a:srgbClr val="50555A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431800" indent="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None/>
              <a:defRPr sz="2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1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19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437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8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86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04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22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800" dirty="0">
                <a:solidFill>
                  <a:schemeClr val="tx1"/>
                </a:solidFill>
                <a:latin typeface="Noto Sans Black" panose="020B0A02040504020204"/>
              </a:rPr>
              <a:t>RMA Policy: </a:t>
            </a:r>
            <a:r>
              <a:rPr lang="en-US" altLang="zh-CN" sz="2800" dirty="0">
                <a:solidFill>
                  <a:srgbClr val="043CC1"/>
                </a:solidFill>
                <a:latin typeface="Noto Sans Black" panose="020B0A02040504020204"/>
              </a:rPr>
              <a:t>What is RMA</a:t>
            </a:r>
            <a:endParaRPr lang="zh-CN" altLang="en-US" sz="2800" dirty="0">
              <a:solidFill>
                <a:srgbClr val="043CC1"/>
              </a:solidFill>
              <a:latin typeface="Noto Sans Black" panose="020B0A02040504020204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内容占位符 2"/>
          <p:cNvSpPr txBox="1"/>
          <p:nvPr/>
        </p:nvSpPr>
        <p:spPr>
          <a:xfrm>
            <a:off x="576000" y="1080215"/>
            <a:ext cx="10728066" cy="429947"/>
          </a:xfrm>
          <a:prstGeom prst="rect">
            <a:avLst/>
          </a:prstGeom>
        </p:spPr>
        <p:txBody>
          <a:bodyPr/>
          <a:lstStyle>
            <a:lvl1pPr marL="0" indent="0" algn="l" defTabSz="863600" rtl="0" eaLnBrk="1" latinLnBrk="0" hangingPunct="1">
              <a:lnSpc>
                <a:spcPct val="120000"/>
              </a:lnSpc>
              <a:spcBef>
                <a:spcPts val="945"/>
              </a:spcBef>
              <a:buFont typeface="Arial" panose="020B0604020202020204" pitchFamily="34" charset="0"/>
              <a:buNone/>
              <a:defRPr sz="1200" kern="1200">
                <a:solidFill>
                  <a:srgbClr val="50555A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431800" indent="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None/>
              <a:defRPr sz="2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1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19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437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8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86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04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22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6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Key Points: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zh-CN" sz="16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SP or end user submits RMA application.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zh-CN" sz="16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SP will send replacement parts to end user </a:t>
            </a:r>
            <a:r>
              <a:rPr lang="en-US" altLang="zh-CN" sz="16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within 15CD</a:t>
            </a:r>
            <a:r>
              <a:rPr lang="en-US" altLang="zh-CN" sz="16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 once get defective parts. 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zh-CN" sz="16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SP shall outbound replacement parts in CSM system as well.</a:t>
            </a:r>
          </a:p>
        </p:txBody>
      </p:sp>
      <p:grpSp>
        <p:nvGrpSpPr>
          <p:cNvPr id="62" name="组合 61"/>
          <p:cNvGrpSpPr/>
          <p:nvPr/>
        </p:nvGrpSpPr>
        <p:grpSpPr>
          <a:xfrm>
            <a:off x="423103" y="2817530"/>
            <a:ext cx="10476668" cy="2372188"/>
            <a:chOff x="423102" y="3294673"/>
            <a:chExt cx="11236089" cy="2544140"/>
          </a:xfrm>
        </p:grpSpPr>
        <p:pic>
          <p:nvPicPr>
            <p:cNvPr id="63" name="图片 62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01820" y="3294673"/>
              <a:ext cx="1957371" cy="1957371"/>
            </a:xfrm>
            <a:prstGeom prst="rect">
              <a:avLst/>
            </a:prstGeom>
          </p:spPr>
        </p:pic>
        <p:pic>
          <p:nvPicPr>
            <p:cNvPr id="64" name="图片 6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60188" y="3294674"/>
              <a:ext cx="1945533" cy="1945533"/>
            </a:xfrm>
            <a:prstGeom prst="rect">
              <a:avLst/>
            </a:prstGeom>
          </p:spPr>
        </p:pic>
        <p:pic>
          <p:nvPicPr>
            <p:cNvPr id="65" name="图片 6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19811" y="3306662"/>
              <a:ext cx="1869953" cy="1869953"/>
            </a:xfrm>
            <a:prstGeom prst="rect">
              <a:avLst/>
            </a:prstGeom>
          </p:spPr>
        </p:pic>
        <p:pic>
          <p:nvPicPr>
            <p:cNvPr id="66" name="图片 6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38582" y="3337087"/>
              <a:ext cx="1839528" cy="1839528"/>
            </a:xfrm>
            <a:prstGeom prst="rect">
              <a:avLst/>
            </a:prstGeom>
          </p:spPr>
        </p:pic>
        <p:pic>
          <p:nvPicPr>
            <p:cNvPr id="67" name="图片 66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3102" y="3394525"/>
              <a:ext cx="1782090" cy="1782090"/>
            </a:xfrm>
            <a:prstGeom prst="rect">
              <a:avLst/>
            </a:prstGeom>
          </p:spPr>
        </p:pic>
        <p:cxnSp>
          <p:nvCxnSpPr>
            <p:cNvPr id="68" name="直接箭头连接符 67"/>
            <p:cNvCxnSpPr/>
            <p:nvPr/>
          </p:nvCxnSpPr>
          <p:spPr>
            <a:xfrm>
              <a:off x="2077711" y="4086235"/>
              <a:ext cx="922924" cy="461"/>
            </a:xfrm>
            <a:prstGeom prst="straightConnector1">
              <a:avLst/>
            </a:prstGeom>
            <a:ln w="317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直接箭头连接符 68"/>
            <p:cNvCxnSpPr/>
            <p:nvPr/>
          </p:nvCxnSpPr>
          <p:spPr>
            <a:xfrm>
              <a:off x="4267942" y="4063532"/>
              <a:ext cx="922924" cy="461"/>
            </a:xfrm>
            <a:prstGeom prst="straightConnector1">
              <a:avLst/>
            </a:prstGeom>
            <a:ln w="317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直接箭头连接符 69"/>
            <p:cNvCxnSpPr/>
            <p:nvPr/>
          </p:nvCxnSpPr>
          <p:spPr>
            <a:xfrm>
              <a:off x="6567116" y="4054604"/>
              <a:ext cx="802942" cy="0"/>
            </a:xfrm>
            <a:prstGeom prst="straightConnector1">
              <a:avLst/>
            </a:prstGeom>
            <a:ln w="31750">
              <a:solidFill>
                <a:srgbClr val="00B0F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直接箭头连接符 70"/>
            <p:cNvCxnSpPr/>
            <p:nvPr/>
          </p:nvCxnSpPr>
          <p:spPr>
            <a:xfrm flipV="1">
              <a:off x="9071400" y="4054014"/>
              <a:ext cx="756710" cy="590"/>
            </a:xfrm>
            <a:prstGeom prst="straightConnector1">
              <a:avLst/>
            </a:prstGeom>
            <a:ln w="31750">
              <a:solidFill>
                <a:srgbClr val="00B0F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直接箭头连接符 71"/>
            <p:cNvCxnSpPr/>
            <p:nvPr/>
          </p:nvCxnSpPr>
          <p:spPr>
            <a:xfrm>
              <a:off x="9075416" y="4320443"/>
              <a:ext cx="776382" cy="0"/>
            </a:xfrm>
            <a:prstGeom prst="straightConnector1">
              <a:avLst/>
            </a:prstGeom>
            <a:ln w="31750">
              <a:solidFill>
                <a:srgbClr val="FF0000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直接箭头连接符 72"/>
            <p:cNvCxnSpPr/>
            <p:nvPr/>
          </p:nvCxnSpPr>
          <p:spPr>
            <a:xfrm>
              <a:off x="6567116" y="4311181"/>
              <a:ext cx="779161" cy="0"/>
            </a:xfrm>
            <a:prstGeom prst="straightConnector1">
              <a:avLst/>
            </a:prstGeom>
            <a:ln w="31750">
              <a:solidFill>
                <a:srgbClr val="FF0000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4" name="组合 73"/>
            <p:cNvGrpSpPr/>
            <p:nvPr/>
          </p:nvGrpSpPr>
          <p:grpSpPr>
            <a:xfrm>
              <a:off x="6916557" y="5495390"/>
              <a:ext cx="4742634" cy="343423"/>
              <a:chOff x="6916557" y="5797980"/>
              <a:chExt cx="4742634" cy="343423"/>
            </a:xfrm>
          </p:grpSpPr>
          <p:cxnSp>
            <p:nvCxnSpPr>
              <p:cNvPr id="80" name="直接箭头连接符 79"/>
              <p:cNvCxnSpPr/>
              <p:nvPr/>
            </p:nvCxnSpPr>
            <p:spPr>
              <a:xfrm flipH="1" flipV="1">
                <a:off x="6916557" y="5984609"/>
                <a:ext cx="545042" cy="4150"/>
              </a:xfrm>
              <a:prstGeom prst="straightConnector1">
                <a:avLst/>
              </a:prstGeom>
              <a:ln w="31750">
                <a:solidFill>
                  <a:srgbClr val="FF0000"/>
                </a:solidFill>
                <a:headEnd type="triangl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1" name="文本框 80"/>
              <p:cNvSpPr txBox="1"/>
              <p:nvPr/>
            </p:nvSpPr>
            <p:spPr>
              <a:xfrm>
                <a:off x="9983613" y="5797980"/>
                <a:ext cx="1675578" cy="3135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300" dirty="0">
                    <a:solidFill>
                      <a:srgbClr val="566D8D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Repaired Parts</a:t>
                </a:r>
                <a:endParaRPr lang="zh-CN" altLang="en-US" sz="1300" dirty="0">
                  <a:solidFill>
                    <a:srgbClr val="566D8D"/>
                  </a:solidFill>
                  <a:latin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82" name="文本框 81"/>
              <p:cNvSpPr txBox="1"/>
              <p:nvPr/>
            </p:nvSpPr>
            <p:spPr>
              <a:xfrm>
                <a:off x="7508718" y="5827820"/>
                <a:ext cx="1830158" cy="3135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300" dirty="0">
                    <a:solidFill>
                      <a:srgbClr val="566D8D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Defective Parts</a:t>
                </a:r>
                <a:endParaRPr lang="zh-CN" altLang="en-US" sz="1300" dirty="0">
                  <a:solidFill>
                    <a:srgbClr val="566D8D"/>
                  </a:solidFill>
                  <a:latin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cxnSp>
            <p:nvCxnSpPr>
              <p:cNvPr id="83" name="直接箭头连接符 82"/>
              <p:cNvCxnSpPr/>
              <p:nvPr/>
            </p:nvCxnSpPr>
            <p:spPr>
              <a:xfrm flipH="1" flipV="1">
                <a:off x="9438571" y="5952270"/>
                <a:ext cx="545042" cy="4150"/>
              </a:xfrm>
              <a:prstGeom prst="straightConnector1">
                <a:avLst/>
              </a:prstGeom>
              <a:ln w="31750">
                <a:solidFill>
                  <a:srgbClr val="00B0F0"/>
                </a:solidFill>
                <a:headEnd type="triangl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5" name="文本框 74"/>
            <p:cNvSpPr txBox="1"/>
            <p:nvPr/>
          </p:nvSpPr>
          <p:spPr>
            <a:xfrm>
              <a:off x="605930" y="4794625"/>
              <a:ext cx="149475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kumimoji="1" lang="en-US" altLang="zh-CN" sz="1300" b="1" kern="0" dirty="0">
                  <a:solidFill>
                    <a:srgbClr val="566D8D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Submit RMA Application</a:t>
              </a:r>
            </a:p>
          </p:txBody>
        </p:sp>
        <p:sp>
          <p:nvSpPr>
            <p:cNvPr id="76" name="文本框 75"/>
            <p:cNvSpPr txBox="1"/>
            <p:nvPr/>
          </p:nvSpPr>
          <p:spPr>
            <a:xfrm>
              <a:off x="2919761" y="4790392"/>
              <a:ext cx="159872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kumimoji="1" lang="en-US" altLang="zh-CN" sz="1300" b="1" kern="0" dirty="0">
                  <a:solidFill>
                    <a:srgbClr val="566D8D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Fault &amp; SLA </a:t>
              </a:r>
            </a:p>
            <a:p>
              <a:pPr algn="ctr">
                <a:defRPr/>
              </a:pPr>
              <a:r>
                <a:rPr kumimoji="1" lang="en-US" altLang="zh-CN" sz="1300" b="1" kern="0" dirty="0">
                  <a:solidFill>
                    <a:srgbClr val="566D8D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Confirmation</a:t>
              </a:r>
            </a:p>
          </p:txBody>
        </p:sp>
        <p:sp>
          <p:nvSpPr>
            <p:cNvPr id="77" name="矩形 76"/>
            <p:cNvSpPr/>
            <p:nvPr/>
          </p:nvSpPr>
          <p:spPr>
            <a:xfrm>
              <a:off x="5248945" y="4817030"/>
              <a:ext cx="1318170" cy="31358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kumimoji="1" lang="en-US" altLang="zh-CN" sz="1300" b="1" kern="0" dirty="0">
                  <a:solidFill>
                    <a:srgbClr val="566D8D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Warehouse</a:t>
              </a:r>
            </a:p>
          </p:txBody>
        </p:sp>
        <p:sp>
          <p:nvSpPr>
            <p:cNvPr id="78" name="矩形 77"/>
            <p:cNvSpPr/>
            <p:nvPr/>
          </p:nvSpPr>
          <p:spPr>
            <a:xfrm>
              <a:off x="7423328" y="4817029"/>
              <a:ext cx="1534539" cy="31358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kumimoji="1" lang="en-US" altLang="zh-CN" sz="1300" b="1" kern="0" dirty="0">
                  <a:solidFill>
                    <a:srgbClr val="566D8D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Transportation</a:t>
              </a:r>
            </a:p>
          </p:txBody>
        </p:sp>
        <p:sp>
          <p:nvSpPr>
            <p:cNvPr id="79" name="文本框 78"/>
            <p:cNvSpPr txBox="1"/>
            <p:nvPr/>
          </p:nvSpPr>
          <p:spPr>
            <a:xfrm>
              <a:off x="10156204" y="4817028"/>
              <a:ext cx="1150752" cy="3135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kumimoji="1" lang="en-US" altLang="zh-CN" sz="1300" b="1" kern="0" dirty="0">
                  <a:solidFill>
                    <a:srgbClr val="566D8D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Customer</a:t>
              </a:r>
            </a:p>
          </p:txBody>
        </p:sp>
      </p:grpSp>
      <p:sp>
        <p:nvSpPr>
          <p:cNvPr id="30" name="文本占位符 2">
            <a:extLst>
              <a:ext uri="{FF2B5EF4-FFF2-40B4-BE49-F238E27FC236}">
                <a16:creationId xmlns:a16="http://schemas.microsoft.com/office/drawing/2014/main" xmlns="" id="{7E817D83-8F41-2437-C5BE-2842526EF96D}"/>
              </a:ext>
            </a:extLst>
          </p:cNvPr>
          <p:cNvSpPr txBox="1">
            <a:spLocks/>
          </p:cNvSpPr>
          <p:nvPr/>
        </p:nvSpPr>
        <p:spPr>
          <a:xfrm>
            <a:off x="285992" y="287759"/>
            <a:ext cx="11232908" cy="376242"/>
          </a:xfrm>
          <a:prstGeom prst="rect">
            <a:avLst/>
          </a:prstGeom>
        </p:spPr>
        <p:txBody>
          <a:bodyPr/>
          <a:lstStyle>
            <a:lvl1pPr marL="0" indent="0" algn="l" defTabSz="863600" rtl="0" eaLnBrk="1" latinLnBrk="0" hangingPunct="1">
              <a:lnSpc>
                <a:spcPct val="120000"/>
              </a:lnSpc>
              <a:spcBef>
                <a:spcPts val="945"/>
              </a:spcBef>
              <a:buFont typeface="Arial" panose="020B0604020202020204" pitchFamily="34" charset="0"/>
              <a:buNone/>
              <a:defRPr sz="1200" kern="1200">
                <a:solidFill>
                  <a:srgbClr val="50555A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431800" indent="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None/>
              <a:defRPr sz="2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1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19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437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8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86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04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22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800" dirty="0">
                <a:solidFill>
                  <a:schemeClr val="tx1"/>
                </a:solidFill>
                <a:latin typeface="Noto Sans Black" panose="020B0A02040504020204"/>
              </a:rPr>
              <a:t>RMA Process Introduction: </a:t>
            </a:r>
            <a:r>
              <a:rPr lang="en-US" altLang="zh-CN" sz="2500" dirty="0">
                <a:solidFill>
                  <a:srgbClr val="043CC1"/>
                </a:solidFill>
                <a:latin typeface="Noto Sans Black" panose="020B0A02040504020204"/>
              </a:rPr>
              <a:t>One-to-One Replacement Service </a:t>
            </a:r>
            <a:endParaRPr lang="zh-CN" altLang="en-US" sz="2500" dirty="0">
              <a:solidFill>
                <a:srgbClr val="043CC1"/>
              </a:solidFill>
              <a:latin typeface="Noto Sans Black" panose="020B0A02040504020204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内容占位符 2"/>
          <p:cNvSpPr txBox="1"/>
          <p:nvPr/>
        </p:nvSpPr>
        <p:spPr>
          <a:xfrm>
            <a:off x="576000" y="1080215"/>
            <a:ext cx="10728066" cy="429947"/>
          </a:xfrm>
          <a:prstGeom prst="rect">
            <a:avLst/>
          </a:prstGeom>
        </p:spPr>
        <p:txBody>
          <a:bodyPr/>
          <a:lstStyle>
            <a:lvl1pPr marL="0" indent="0" algn="l" defTabSz="863600" rtl="0" eaLnBrk="1" latinLnBrk="0" hangingPunct="1">
              <a:lnSpc>
                <a:spcPct val="120000"/>
              </a:lnSpc>
              <a:spcBef>
                <a:spcPts val="945"/>
              </a:spcBef>
              <a:buFont typeface="Arial" panose="020B0604020202020204" pitchFamily="34" charset="0"/>
              <a:buNone/>
              <a:defRPr sz="1200" kern="1200">
                <a:solidFill>
                  <a:srgbClr val="50555A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431800" indent="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None/>
              <a:defRPr sz="2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1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19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437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8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86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04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22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6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Key Points: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zh-CN" sz="16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ustomers send defective parts to </a:t>
            </a:r>
            <a:r>
              <a:rPr lang="en-US" altLang="zh-CN" sz="1600" dirty="0" err="1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uijie</a:t>
            </a:r>
            <a:r>
              <a:rPr lang="en-US" altLang="zh-CN" sz="16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first.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zh-CN" sz="1600" dirty="0" err="1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uijie</a:t>
            </a:r>
            <a:r>
              <a:rPr lang="en-US" altLang="zh-CN" sz="16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sends repaired parts back to customer </a:t>
            </a:r>
            <a:r>
              <a:rPr lang="en-US" altLang="zh-CN" sz="16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within 15CD </a:t>
            </a:r>
            <a:r>
              <a:rPr lang="en-US" altLang="zh-CN" sz="16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once received defective parts.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zh-CN" sz="16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f the defective parts can’t be repaired, </a:t>
            </a:r>
            <a:r>
              <a:rPr lang="en-US" altLang="zh-CN" sz="1600" dirty="0" err="1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uijie</a:t>
            </a:r>
            <a:r>
              <a:rPr lang="en-US" altLang="zh-CN" sz="16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will provide a replacement model.</a:t>
            </a:r>
          </a:p>
          <a:p>
            <a:endParaRPr lang="en-US" altLang="zh-CN" sz="1600" dirty="0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26" name="文本占位符 1"/>
          <p:cNvSpPr>
            <a:spLocks noGrp="1"/>
          </p:cNvSpPr>
          <p:nvPr/>
        </p:nvSpPr>
        <p:spPr>
          <a:xfrm>
            <a:off x="622223" y="4499740"/>
            <a:ext cx="10681843" cy="37973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lang="zh-CN" altLang="en-US" sz="2400" b="1" kern="1200" dirty="0" smtClean="0">
                <a:solidFill>
                  <a:srgbClr val="4E5865"/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微软雅黑" panose="020B0503020204020204" charset="-122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微软雅黑" panose="020B0503020204020204" charset="-122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微软雅黑" panose="020B0503020204020204" charset="-122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微软雅黑" panose="020B050302020402020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defRPr/>
            </a:pPr>
            <a:r>
              <a:rPr lang="en-US" altLang="zh-CN" sz="1000" i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+mn-ea"/>
              </a:rPr>
              <a:t>Notes:</a:t>
            </a:r>
          </a:p>
          <a:p>
            <a:pPr marL="342900" indent="-342900">
              <a:lnSpc>
                <a:spcPts val="1400"/>
              </a:lnSpc>
              <a:spcBef>
                <a:spcPct val="0"/>
              </a:spcBef>
              <a:buFont typeface="Arial" panose="020B0604020202020204" pitchFamily="34" charset="0"/>
              <a:buAutoNum type="arabicParenR"/>
              <a:defRPr/>
            </a:pPr>
            <a:r>
              <a:rPr lang="en-US" altLang="zh-CN" sz="1000" b="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Expenses related to shipping defective parts back to </a:t>
            </a:r>
            <a:r>
              <a:rPr lang="en-US" altLang="zh-CN" sz="1000" b="0" dirty="0" err="1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uijie</a:t>
            </a:r>
            <a:r>
              <a:rPr lang="en-US" altLang="zh-CN" sz="1000" b="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shall be undertaken by the customer: including local transportation, local customs clearance on the customer side, and international logistics from the customer to </a:t>
            </a:r>
            <a:r>
              <a:rPr lang="en-US" altLang="zh-CN" sz="1000" b="0" dirty="0" err="1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uijie</a:t>
            </a:r>
            <a:r>
              <a:rPr lang="en-US" altLang="zh-CN" sz="1000" b="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.</a:t>
            </a:r>
          </a:p>
          <a:p>
            <a:pPr marL="342900" indent="-342900">
              <a:lnSpc>
                <a:spcPts val="1400"/>
              </a:lnSpc>
              <a:spcBef>
                <a:spcPct val="0"/>
              </a:spcBef>
              <a:buFont typeface="Arial" panose="020B0604020202020204" pitchFamily="34" charset="0"/>
              <a:buAutoNum type="arabicParenR"/>
              <a:defRPr/>
            </a:pPr>
            <a:r>
              <a:rPr lang="en-US" altLang="zh-CN" sz="1000" b="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Expenses related to shipping repaired/replace parts back to the customer shall be undertaken by Ruijie: including local transportation, local customs clearance on Ruijie side, and international logistics from Ruijie to the customer.</a:t>
            </a:r>
          </a:p>
          <a:p>
            <a:pPr marL="342900" indent="-342900">
              <a:lnSpc>
                <a:spcPts val="1400"/>
              </a:lnSpc>
              <a:spcBef>
                <a:spcPct val="0"/>
              </a:spcBef>
              <a:buFont typeface="Arial" panose="020B0604020202020204" pitchFamily="34" charset="0"/>
              <a:buAutoNum type="arabicParenR"/>
              <a:defRPr/>
            </a:pPr>
            <a:r>
              <a:rPr lang="en-US" altLang="zh-CN" sz="1000" b="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For the country in which Ruijie have local warehouses, customer can send defective parts to Ruijie's local warehouses (such as </a:t>
            </a:r>
            <a:r>
              <a:rPr lang="en-US" altLang="zh-CN" sz="10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Turkey, UAE, Saudi Arabia, Indonesia, Thailand and Vietnam, and m</a:t>
            </a:r>
            <a:r>
              <a:rPr lang="zh-CN" altLang="zh-CN" sz="1000" dirty="0">
                <a:latin typeface="Noto Sans" panose="020B0502040504020204" pitchFamily="34" charset="0"/>
                <a:cs typeface="Noto Sans" panose="020B0502040504020204" pitchFamily="34" charset="0"/>
              </a:rPr>
              <a:t>ore countries will update </a:t>
            </a:r>
            <a:r>
              <a:rPr lang="en-US" altLang="zh-CN" sz="10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ontinually</a:t>
            </a:r>
            <a:r>
              <a:rPr lang="en-US" altLang="zh-CN" sz="1000" b="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), Ruijie will provide repaired/ replacement parts within SLA. </a:t>
            </a:r>
          </a:p>
        </p:txBody>
      </p:sp>
      <p:grpSp>
        <p:nvGrpSpPr>
          <p:cNvPr id="27" name="组合 26"/>
          <p:cNvGrpSpPr/>
          <p:nvPr/>
        </p:nvGrpSpPr>
        <p:grpSpPr>
          <a:xfrm>
            <a:off x="1321868" y="1943943"/>
            <a:ext cx="9483317" cy="2686290"/>
            <a:chOff x="527545" y="1512290"/>
            <a:chExt cx="11551758" cy="3272206"/>
          </a:xfrm>
        </p:grpSpPr>
        <p:grpSp>
          <p:nvGrpSpPr>
            <p:cNvPr id="28" name="组合 27"/>
            <p:cNvGrpSpPr/>
            <p:nvPr/>
          </p:nvGrpSpPr>
          <p:grpSpPr>
            <a:xfrm>
              <a:off x="10692719" y="1512290"/>
              <a:ext cx="949132" cy="893370"/>
              <a:chOff x="4677825" y="4022701"/>
              <a:chExt cx="1396560" cy="1314512"/>
            </a:xfrm>
          </p:grpSpPr>
          <p:pic>
            <p:nvPicPr>
              <p:cNvPr id="55" name="图片 54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59874" y="4022701"/>
                <a:ext cx="1314511" cy="1314512"/>
              </a:xfrm>
              <a:prstGeom prst="rect">
                <a:avLst/>
              </a:prstGeom>
            </p:spPr>
          </p:pic>
          <p:pic>
            <p:nvPicPr>
              <p:cNvPr id="56" name="图片 55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677825" y="4139166"/>
                <a:ext cx="609332" cy="609331"/>
              </a:xfrm>
              <a:prstGeom prst="rect">
                <a:avLst/>
              </a:prstGeom>
            </p:spPr>
          </p:pic>
        </p:grpSp>
        <p:pic>
          <p:nvPicPr>
            <p:cNvPr id="29" name="图片 2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09535" y="2726709"/>
              <a:ext cx="1592332" cy="1592332"/>
            </a:xfrm>
            <a:prstGeom prst="rect">
              <a:avLst/>
            </a:prstGeom>
          </p:spPr>
        </p:pic>
        <p:pic>
          <p:nvPicPr>
            <p:cNvPr id="30" name="图片 29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99599" y="2786885"/>
              <a:ext cx="1532156" cy="1532156"/>
            </a:xfrm>
            <a:prstGeom prst="rect">
              <a:avLst/>
            </a:prstGeom>
          </p:spPr>
        </p:pic>
        <p:pic>
          <p:nvPicPr>
            <p:cNvPr id="31" name="图片 3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29945" y="2786885"/>
              <a:ext cx="1532156" cy="1532156"/>
            </a:xfrm>
            <a:prstGeom prst="rect">
              <a:avLst/>
            </a:prstGeom>
          </p:spPr>
        </p:pic>
        <p:pic>
          <p:nvPicPr>
            <p:cNvPr id="32" name="图片 31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38679" y="2802701"/>
              <a:ext cx="1549614" cy="1549614"/>
            </a:xfrm>
            <a:prstGeom prst="rect">
              <a:avLst/>
            </a:prstGeom>
          </p:spPr>
        </p:pic>
        <p:pic>
          <p:nvPicPr>
            <p:cNvPr id="33" name="图片 32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7545" y="2748699"/>
              <a:ext cx="1597864" cy="1597864"/>
            </a:xfrm>
            <a:prstGeom prst="rect">
              <a:avLst/>
            </a:prstGeom>
          </p:spPr>
        </p:pic>
        <p:cxnSp>
          <p:nvCxnSpPr>
            <p:cNvPr id="34" name="直接箭头连接符 33"/>
            <p:cNvCxnSpPr/>
            <p:nvPr/>
          </p:nvCxnSpPr>
          <p:spPr>
            <a:xfrm>
              <a:off x="4149262" y="3229875"/>
              <a:ext cx="922924" cy="461"/>
            </a:xfrm>
            <a:prstGeom prst="straightConnector1">
              <a:avLst/>
            </a:prstGeom>
            <a:ln w="317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直接箭头连接符 34"/>
            <p:cNvCxnSpPr/>
            <p:nvPr/>
          </p:nvCxnSpPr>
          <p:spPr>
            <a:xfrm>
              <a:off x="6183097" y="3229414"/>
              <a:ext cx="1593625" cy="0"/>
            </a:xfrm>
            <a:prstGeom prst="straightConnector1">
              <a:avLst/>
            </a:prstGeom>
            <a:ln w="317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直接箭头连接符 35"/>
            <p:cNvCxnSpPr/>
            <p:nvPr/>
          </p:nvCxnSpPr>
          <p:spPr>
            <a:xfrm>
              <a:off x="9139125" y="3171242"/>
              <a:ext cx="922924" cy="461"/>
            </a:xfrm>
            <a:prstGeom prst="straightConnector1">
              <a:avLst/>
            </a:prstGeom>
            <a:ln w="317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直接箭头连接符 36"/>
            <p:cNvCxnSpPr/>
            <p:nvPr/>
          </p:nvCxnSpPr>
          <p:spPr>
            <a:xfrm>
              <a:off x="9139125" y="3456532"/>
              <a:ext cx="922924" cy="461"/>
            </a:xfrm>
            <a:prstGeom prst="straightConnector1">
              <a:avLst/>
            </a:prstGeom>
            <a:ln w="31750">
              <a:solidFill>
                <a:srgbClr val="FF0000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直接箭头连接符 37"/>
            <p:cNvCxnSpPr/>
            <p:nvPr/>
          </p:nvCxnSpPr>
          <p:spPr>
            <a:xfrm>
              <a:off x="6155793" y="3480318"/>
              <a:ext cx="1532156" cy="0"/>
            </a:xfrm>
            <a:prstGeom prst="straightConnector1">
              <a:avLst/>
            </a:prstGeom>
            <a:ln w="31750">
              <a:solidFill>
                <a:srgbClr val="FF0000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直接箭头连接符 38"/>
            <p:cNvCxnSpPr/>
            <p:nvPr/>
          </p:nvCxnSpPr>
          <p:spPr>
            <a:xfrm>
              <a:off x="4121574" y="3488429"/>
              <a:ext cx="922924" cy="461"/>
            </a:xfrm>
            <a:prstGeom prst="straightConnector1">
              <a:avLst/>
            </a:prstGeom>
            <a:ln w="31750">
              <a:solidFill>
                <a:srgbClr val="FF0000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直接箭头连接符 39"/>
            <p:cNvCxnSpPr/>
            <p:nvPr/>
          </p:nvCxnSpPr>
          <p:spPr>
            <a:xfrm>
              <a:off x="2018608" y="3229414"/>
              <a:ext cx="922924" cy="461"/>
            </a:xfrm>
            <a:prstGeom prst="straightConnector1">
              <a:avLst/>
            </a:prstGeom>
            <a:ln w="317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直接箭头连接符 40"/>
            <p:cNvCxnSpPr/>
            <p:nvPr/>
          </p:nvCxnSpPr>
          <p:spPr>
            <a:xfrm>
              <a:off x="1999466" y="3487968"/>
              <a:ext cx="922924" cy="461"/>
            </a:xfrm>
            <a:prstGeom prst="straightConnector1">
              <a:avLst/>
            </a:prstGeom>
            <a:ln w="31750">
              <a:solidFill>
                <a:srgbClr val="FF0000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文本框 41"/>
            <p:cNvSpPr txBox="1"/>
            <p:nvPr/>
          </p:nvSpPr>
          <p:spPr>
            <a:xfrm>
              <a:off x="658367" y="4015193"/>
              <a:ext cx="1345357" cy="2999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kumimoji="1" lang="en-US" altLang="zh-CN" sz="1000" b="1" kern="0" dirty="0">
                  <a:solidFill>
                    <a:srgbClr val="566D8D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Repair Center</a:t>
              </a:r>
              <a:endParaRPr kumimoji="1" lang="zh-CN" altLang="en-US" sz="1000" b="1" kern="0" dirty="0">
                <a:solidFill>
                  <a:srgbClr val="566D8D"/>
                </a:solidFill>
                <a:latin typeface="Noto Sans" panose="020B0502040504020204" pitchFamily="34" charset="0"/>
                <a:ea typeface="微软雅黑" panose="020B0503020204020204" charset="-122"/>
                <a:cs typeface="Noto Sans" panose="020B0502040504020204" pitchFamily="34" charset="0"/>
              </a:endParaRPr>
            </a:p>
          </p:txBody>
        </p:sp>
        <p:sp>
          <p:nvSpPr>
            <p:cNvPr id="43" name="文本框 42"/>
            <p:cNvSpPr txBox="1"/>
            <p:nvPr/>
          </p:nvSpPr>
          <p:spPr>
            <a:xfrm>
              <a:off x="2922390" y="3925252"/>
              <a:ext cx="1370802" cy="4873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kumimoji="1" lang="en-US" altLang="zh-CN" sz="1000" b="1" kern="0" dirty="0">
                  <a:solidFill>
                    <a:srgbClr val="566D8D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Warehouse Receipt</a:t>
              </a:r>
            </a:p>
          </p:txBody>
        </p:sp>
        <p:sp>
          <p:nvSpPr>
            <p:cNvPr id="44" name="文本框 43"/>
            <p:cNvSpPr txBox="1"/>
            <p:nvPr/>
          </p:nvSpPr>
          <p:spPr>
            <a:xfrm>
              <a:off x="5221174" y="4015731"/>
              <a:ext cx="1112225" cy="2999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000" b="1" dirty="0">
                  <a:solidFill>
                    <a:srgbClr val="566D8D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Customs</a:t>
              </a:r>
              <a:endParaRPr lang="zh-CN" altLang="en-US" sz="1000" b="1" dirty="0">
                <a:solidFill>
                  <a:srgbClr val="566D8D"/>
                </a:solidFill>
                <a:latin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45" name="文本框 44"/>
            <p:cNvSpPr txBox="1"/>
            <p:nvPr/>
          </p:nvSpPr>
          <p:spPr>
            <a:xfrm>
              <a:off x="8070200" y="4015193"/>
              <a:ext cx="1048602" cy="2999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000" b="1" dirty="0">
                  <a:solidFill>
                    <a:srgbClr val="566D8D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Customs</a:t>
              </a:r>
              <a:endParaRPr lang="zh-CN" altLang="en-US" sz="1000" b="1" dirty="0">
                <a:solidFill>
                  <a:srgbClr val="566D8D"/>
                </a:solidFill>
                <a:latin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46" name="文本框 45"/>
            <p:cNvSpPr txBox="1"/>
            <p:nvPr/>
          </p:nvSpPr>
          <p:spPr>
            <a:xfrm>
              <a:off x="10282591" y="4015731"/>
              <a:ext cx="1048602" cy="2999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kumimoji="1" lang="en-US" altLang="zh-CN" sz="1000" b="1" kern="0" dirty="0">
                  <a:solidFill>
                    <a:srgbClr val="566D8D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Customer</a:t>
              </a:r>
            </a:p>
          </p:txBody>
        </p:sp>
        <p:pic>
          <p:nvPicPr>
            <p:cNvPr id="47" name="图片 46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48341" y="2560379"/>
              <a:ext cx="755371" cy="715545"/>
            </a:xfrm>
            <a:prstGeom prst="rect">
              <a:avLst/>
            </a:prstGeom>
          </p:spPr>
        </p:pic>
        <p:pic>
          <p:nvPicPr>
            <p:cNvPr id="48" name="图片 47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55067" y="3425144"/>
              <a:ext cx="824241" cy="780783"/>
            </a:xfrm>
            <a:prstGeom prst="rect">
              <a:avLst/>
            </a:prstGeom>
          </p:spPr>
        </p:pic>
        <p:grpSp>
          <p:nvGrpSpPr>
            <p:cNvPr id="49" name="组合 48"/>
            <p:cNvGrpSpPr/>
            <p:nvPr/>
          </p:nvGrpSpPr>
          <p:grpSpPr>
            <a:xfrm>
              <a:off x="7298398" y="4475211"/>
              <a:ext cx="4742633" cy="309285"/>
              <a:chOff x="7298398" y="5827820"/>
              <a:chExt cx="4742633" cy="309285"/>
            </a:xfrm>
          </p:grpSpPr>
          <p:cxnSp>
            <p:nvCxnSpPr>
              <p:cNvPr id="51" name="直接箭头连接符 50"/>
              <p:cNvCxnSpPr/>
              <p:nvPr/>
            </p:nvCxnSpPr>
            <p:spPr>
              <a:xfrm flipH="1" flipV="1">
                <a:off x="7298398" y="5984609"/>
                <a:ext cx="545043" cy="4150"/>
              </a:xfrm>
              <a:prstGeom prst="straightConnector1">
                <a:avLst/>
              </a:prstGeom>
              <a:ln w="31750">
                <a:solidFill>
                  <a:srgbClr val="FF0000"/>
                </a:solidFill>
                <a:headEnd type="triangl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2" name="文本框 51"/>
              <p:cNvSpPr txBox="1"/>
              <p:nvPr/>
            </p:nvSpPr>
            <p:spPr>
              <a:xfrm>
                <a:off x="10365454" y="5837180"/>
                <a:ext cx="1675577" cy="29992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000" dirty="0">
                    <a:solidFill>
                      <a:srgbClr val="566D8D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Repaired Parts</a:t>
                </a:r>
                <a:endParaRPr lang="zh-CN" altLang="en-US" sz="1000" dirty="0">
                  <a:solidFill>
                    <a:srgbClr val="566D8D"/>
                  </a:solidFill>
                  <a:latin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53" name="文本框 52"/>
              <p:cNvSpPr txBox="1"/>
              <p:nvPr/>
            </p:nvSpPr>
            <p:spPr>
              <a:xfrm>
                <a:off x="7890559" y="5827820"/>
                <a:ext cx="1830159" cy="29992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000" dirty="0">
                    <a:solidFill>
                      <a:srgbClr val="566D8D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Defective Parts</a:t>
                </a:r>
                <a:endParaRPr lang="zh-CN" altLang="en-US" sz="1000" dirty="0">
                  <a:solidFill>
                    <a:srgbClr val="566D8D"/>
                  </a:solidFill>
                  <a:latin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cxnSp>
            <p:nvCxnSpPr>
              <p:cNvPr id="54" name="直接箭头连接符 53"/>
              <p:cNvCxnSpPr/>
              <p:nvPr/>
            </p:nvCxnSpPr>
            <p:spPr>
              <a:xfrm flipH="1" flipV="1">
                <a:off x="9820412" y="5952270"/>
                <a:ext cx="545043" cy="4150"/>
              </a:xfrm>
              <a:prstGeom prst="straightConnector1">
                <a:avLst/>
              </a:prstGeom>
              <a:ln w="31750">
                <a:solidFill>
                  <a:srgbClr val="00B0F0"/>
                </a:solidFill>
                <a:headEnd type="triangl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0" name="上箭头标注 49"/>
            <p:cNvSpPr/>
            <p:nvPr/>
          </p:nvSpPr>
          <p:spPr>
            <a:xfrm>
              <a:off x="10309702" y="2181771"/>
              <a:ext cx="1769601" cy="657418"/>
            </a:xfrm>
            <a:prstGeom prst="upArrowCallout">
              <a:avLst/>
            </a:prstGeom>
            <a:noFill/>
            <a:ln w="1905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000" dirty="0">
                  <a:solidFill>
                    <a:prstClr val="black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Application submit and confirm</a:t>
              </a:r>
              <a:endParaRPr lang="zh-CN" altLang="en-US" sz="1000" dirty="0">
                <a:solidFill>
                  <a:prstClr val="black"/>
                </a:solidFill>
                <a:latin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</p:grpSp>
      <p:sp>
        <p:nvSpPr>
          <p:cNvPr id="57" name="文本占位符 2">
            <a:extLst>
              <a:ext uri="{FF2B5EF4-FFF2-40B4-BE49-F238E27FC236}">
                <a16:creationId xmlns:a16="http://schemas.microsoft.com/office/drawing/2014/main" xmlns="" id="{7E817D83-8F41-2437-C5BE-2842526EF96D}"/>
              </a:ext>
            </a:extLst>
          </p:cNvPr>
          <p:cNvSpPr txBox="1">
            <a:spLocks/>
          </p:cNvSpPr>
          <p:nvPr/>
        </p:nvSpPr>
        <p:spPr>
          <a:xfrm>
            <a:off x="285992" y="287759"/>
            <a:ext cx="11232908" cy="376242"/>
          </a:xfrm>
          <a:prstGeom prst="rect">
            <a:avLst/>
          </a:prstGeom>
        </p:spPr>
        <p:txBody>
          <a:bodyPr/>
          <a:lstStyle>
            <a:lvl1pPr marL="0" indent="0" algn="l" defTabSz="863600" rtl="0" eaLnBrk="1" latinLnBrk="0" hangingPunct="1">
              <a:lnSpc>
                <a:spcPct val="120000"/>
              </a:lnSpc>
              <a:spcBef>
                <a:spcPts val="945"/>
              </a:spcBef>
              <a:buFont typeface="Arial" panose="020B0604020202020204" pitchFamily="34" charset="0"/>
              <a:buNone/>
              <a:defRPr sz="1200" kern="1200">
                <a:solidFill>
                  <a:srgbClr val="50555A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431800" indent="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None/>
              <a:defRPr sz="2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1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19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437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8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86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04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22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800" dirty="0">
                <a:solidFill>
                  <a:schemeClr val="tx1"/>
                </a:solidFill>
                <a:latin typeface="Noto Sans Black" panose="020B0A02040504020204"/>
              </a:rPr>
              <a:t>RMA Process Introduction: </a:t>
            </a:r>
            <a:r>
              <a:rPr lang="en-US" altLang="zh-CN" sz="2500" dirty="0">
                <a:solidFill>
                  <a:srgbClr val="043CC1"/>
                </a:solidFill>
                <a:latin typeface="Noto Sans Black" panose="020B0A02040504020204"/>
              </a:rPr>
              <a:t>Return for Repair (RFR) Service </a:t>
            </a:r>
            <a:endParaRPr lang="zh-CN" altLang="en-US" sz="2500" dirty="0">
              <a:solidFill>
                <a:srgbClr val="043CC1"/>
              </a:solidFill>
              <a:latin typeface="Noto Sans Black" panose="020B0A02040504020204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内容占位符 2"/>
          <p:cNvSpPr txBox="1"/>
          <p:nvPr/>
        </p:nvSpPr>
        <p:spPr>
          <a:xfrm>
            <a:off x="576000" y="1307866"/>
            <a:ext cx="10728066" cy="429947"/>
          </a:xfrm>
          <a:prstGeom prst="rect">
            <a:avLst/>
          </a:prstGeom>
        </p:spPr>
        <p:txBody>
          <a:bodyPr/>
          <a:lstStyle>
            <a:lvl1pPr marL="0" indent="0" algn="l" defTabSz="863600" rtl="0" eaLnBrk="1" latinLnBrk="0" hangingPunct="1">
              <a:lnSpc>
                <a:spcPct val="120000"/>
              </a:lnSpc>
              <a:spcBef>
                <a:spcPts val="945"/>
              </a:spcBef>
              <a:buFont typeface="Arial" panose="020B0604020202020204" pitchFamily="34" charset="0"/>
              <a:buNone/>
              <a:defRPr sz="1200" kern="1200">
                <a:solidFill>
                  <a:srgbClr val="50555A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431800" indent="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None/>
              <a:defRPr sz="2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1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19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437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8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86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04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22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6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Key Points: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zh-CN" sz="1600" dirty="0" err="1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uijie</a:t>
            </a:r>
            <a:r>
              <a:rPr lang="en-US" altLang="zh-CN" sz="16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will send good parts </a:t>
            </a:r>
            <a:r>
              <a:rPr lang="en-US" altLang="zh-CN" sz="16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within SLA first </a:t>
            </a:r>
            <a:r>
              <a:rPr lang="en-US" altLang="zh-CN" sz="16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once the application is approved.</a:t>
            </a:r>
          </a:p>
          <a:p>
            <a:pPr marL="342900" indent="-342900">
              <a:buFont typeface="+mj-lt"/>
              <a:buAutoNum type="arabicPeriod"/>
            </a:pPr>
            <a:r>
              <a:rPr lang="en-US" altLang="zh-CN" sz="16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ustomer shall send defective parts to </a:t>
            </a:r>
            <a:r>
              <a:rPr lang="en-US" altLang="zh-CN" sz="1600" dirty="0" err="1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uijie</a:t>
            </a:r>
            <a:r>
              <a:rPr lang="en-US" altLang="zh-CN" sz="16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local warehouse or </a:t>
            </a:r>
            <a:r>
              <a:rPr lang="en-US" altLang="zh-CN" sz="1600" dirty="0" err="1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uijie</a:t>
            </a:r>
            <a:r>
              <a:rPr lang="en-US" altLang="zh-CN" sz="16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picks up defective parts from the customer within 15CD after the customer received good parts.</a:t>
            </a:r>
          </a:p>
        </p:txBody>
      </p:sp>
      <p:grpSp>
        <p:nvGrpSpPr>
          <p:cNvPr id="80" name="组合 79"/>
          <p:cNvGrpSpPr/>
          <p:nvPr/>
        </p:nvGrpSpPr>
        <p:grpSpPr>
          <a:xfrm>
            <a:off x="790898" y="2880047"/>
            <a:ext cx="9878847" cy="2268898"/>
            <a:chOff x="423102" y="3294673"/>
            <a:chExt cx="11236089" cy="2580620"/>
          </a:xfrm>
        </p:grpSpPr>
        <p:pic>
          <p:nvPicPr>
            <p:cNvPr id="81" name="图片 80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01820" y="3294673"/>
              <a:ext cx="1957371" cy="1957371"/>
            </a:xfrm>
            <a:prstGeom prst="rect">
              <a:avLst/>
            </a:prstGeom>
          </p:spPr>
        </p:pic>
        <p:pic>
          <p:nvPicPr>
            <p:cNvPr id="82" name="图片 8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60188" y="3294674"/>
              <a:ext cx="1945533" cy="1945533"/>
            </a:xfrm>
            <a:prstGeom prst="rect">
              <a:avLst/>
            </a:prstGeom>
          </p:spPr>
        </p:pic>
        <p:pic>
          <p:nvPicPr>
            <p:cNvPr id="83" name="图片 8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19811" y="3306662"/>
              <a:ext cx="1869953" cy="1869953"/>
            </a:xfrm>
            <a:prstGeom prst="rect">
              <a:avLst/>
            </a:prstGeom>
          </p:spPr>
        </p:pic>
        <p:pic>
          <p:nvPicPr>
            <p:cNvPr id="84" name="图片 83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38582" y="3337087"/>
              <a:ext cx="1839528" cy="1839528"/>
            </a:xfrm>
            <a:prstGeom prst="rect">
              <a:avLst/>
            </a:prstGeom>
          </p:spPr>
        </p:pic>
        <p:pic>
          <p:nvPicPr>
            <p:cNvPr id="85" name="图片 84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3102" y="3394525"/>
              <a:ext cx="1782090" cy="1782090"/>
            </a:xfrm>
            <a:prstGeom prst="rect">
              <a:avLst/>
            </a:prstGeom>
          </p:spPr>
        </p:pic>
        <p:cxnSp>
          <p:nvCxnSpPr>
            <p:cNvPr id="86" name="直接箭头连接符 85"/>
            <p:cNvCxnSpPr/>
            <p:nvPr/>
          </p:nvCxnSpPr>
          <p:spPr>
            <a:xfrm>
              <a:off x="2077711" y="4086235"/>
              <a:ext cx="922924" cy="461"/>
            </a:xfrm>
            <a:prstGeom prst="straightConnector1">
              <a:avLst/>
            </a:prstGeom>
            <a:ln w="317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直接箭头连接符 86"/>
            <p:cNvCxnSpPr/>
            <p:nvPr/>
          </p:nvCxnSpPr>
          <p:spPr>
            <a:xfrm>
              <a:off x="4267942" y="4063532"/>
              <a:ext cx="922924" cy="461"/>
            </a:xfrm>
            <a:prstGeom prst="straightConnector1">
              <a:avLst/>
            </a:prstGeom>
            <a:ln w="317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直接箭头连接符 87"/>
            <p:cNvCxnSpPr/>
            <p:nvPr/>
          </p:nvCxnSpPr>
          <p:spPr>
            <a:xfrm>
              <a:off x="6567116" y="4054604"/>
              <a:ext cx="802942" cy="0"/>
            </a:xfrm>
            <a:prstGeom prst="straightConnector1">
              <a:avLst/>
            </a:prstGeom>
            <a:ln w="31750">
              <a:solidFill>
                <a:srgbClr val="00B0F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直接箭头连接符 88"/>
            <p:cNvCxnSpPr/>
            <p:nvPr/>
          </p:nvCxnSpPr>
          <p:spPr>
            <a:xfrm flipV="1">
              <a:off x="9071400" y="4054014"/>
              <a:ext cx="756710" cy="590"/>
            </a:xfrm>
            <a:prstGeom prst="straightConnector1">
              <a:avLst/>
            </a:prstGeom>
            <a:ln w="31750">
              <a:solidFill>
                <a:srgbClr val="00B0F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直接箭头连接符 89"/>
            <p:cNvCxnSpPr/>
            <p:nvPr/>
          </p:nvCxnSpPr>
          <p:spPr>
            <a:xfrm>
              <a:off x="9075416" y="4320443"/>
              <a:ext cx="776382" cy="0"/>
            </a:xfrm>
            <a:prstGeom prst="straightConnector1">
              <a:avLst/>
            </a:prstGeom>
            <a:ln w="31750">
              <a:solidFill>
                <a:srgbClr val="FF0000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直接箭头连接符 90"/>
            <p:cNvCxnSpPr/>
            <p:nvPr/>
          </p:nvCxnSpPr>
          <p:spPr>
            <a:xfrm>
              <a:off x="6567116" y="4311181"/>
              <a:ext cx="779161" cy="0"/>
            </a:xfrm>
            <a:prstGeom prst="straightConnector1">
              <a:avLst/>
            </a:prstGeom>
            <a:ln w="31750">
              <a:solidFill>
                <a:srgbClr val="FF0000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2" name="组合 91"/>
            <p:cNvGrpSpPr/>
            <p:nvPr/>
          </p:nvGrpSpPr>
          <p:grpSpPr>
            <a:xfrm>
              <a:off x="6916557" y="5495390"/>
              <a:ext cx="4742634" cy="379903"/>
              <a:chOff x="6916557" y="5797980"/>
              <a:chExt cx="4742634" cy="379903"/>
            </a:xfrm>
          </p:grpSpPr>
          <p:cxnSp>
            <p:nvCxnSpPr>
              <p:cNvPr id="98" name="直接箭头连接符 97"/>
              <p:cNvCxnSpPr/>
              <p:nvPr/>
            </p:nvCxnSpPr>
            <p:spPr>
              <a:xfrm flipH="1" flipV="1">
                <a:off x="6916557" y="5984609"/>
                <a:ext cx="545042" cy="4150"/>
              </a:xfrm>
              <a:prstGeom prst="straightConnector1">
                <a:avLst/>
              </a:prstGeom>
              <a:ln w="31750">
                <a:solidFill>
                  <a:srgbClr val="FF0000"/>
                </a:solidFill>
                <a:headEnd type="triangl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9" name="文本框 98"/>
              <p:cNvSpPr txBox="1"/>
              <p:nvPr/>
            </p:nvSpPr>
            <p:spPr>
              <a:xfrm>
                <a:off x="9983613" y="5797980"/>
                <a:ext cx="1675578" cy="3500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566D8D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Repaired Parts</a:t>
                </a:r>
                <a:endParaRPr lang="zh-CN" altLang="en-US" sz="1400" dirty="0">
                  <a:solidFill>
                    <a:srgbClr val="566D8D"/>
                  </a:solidFill>
                  <a:latin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100" name="文本框 99"/>
              <p:cNvSpPr txBox="1"/>
              <p:nvPr/>
            </p:nvSpPr>
            <p:spPr>
              <a:xfrm>
                <a:off x="7508718" y="5827821"/>
                <a:ext cx="1830158" cy="3500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400" dirty="0">
                    <a:solidFill>
                      <a:srgbClr val="566D8D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Defective Parts</a:t>
                </a:r>
                <a:endParaRPr lang="zh-CN" altLang="en-US" sz="1400" dirty="0">
                  <a:solidFill>
                    <a:srgbClr val="566D8D"/>
                  </a:solidFill>
                  <a:latin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cxnSp>
            <p:nvCxnSpPr>
              <p:cNvPr id="101" name="直接箭头连接符 100"/>
              <p:cNvCxnSpPr/>
              <p:nvPr/>
            </p:nvCxnSpPr>
            <p:spPr>
              <a:xfrm flipH="1" flipV="1">
                <a:off x="9438571" y="5952270"/>
                <a:ext cx="545042" cy="4150"/>
              </a:xfrm>
              <a:prstGeom prst="straightConnector1">
                <a:avLst/>
              </a:prstGeom>
              <a:ln w="31750">
                <a:solidFill>
                  <a:srgbClr val="00B0F0"/>
                </a:solidFill>
                <a:headEnd type="triangl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3" name="文本框 92"/>
            <p:cNvSpPr txBox="1"/>
            <p:nvPr/>
          </p:nvSpPr>
          <p:spPr>
            <a:xfrm>
              <a:off x="423102" y="4794625"/>
              <a:ext cx="1731331" cy="5951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kumimoji="1" lang="en-US" altLang="zh-CN" sz="1400" b="1" kern="0" dirty="0">
                  <a:solidFill>
                    <a:srgbClr val="566D8D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Submit RMA Application</a:t>
              </a:r>
            </a:p>
          </p:txBody>
        </p:sp>
        <p:sp>
          <p:nvSpPr>
            <p:cNvPr id="94" name="文本框 93"/>
            <p:cNvSpPr txBox="1"/>
            <p:nvPr/>
          </p:nvSpPr>
          <p:spPr>
            <a:xfrm>
              <a:off x="2919761" y="4790392"/>
              <a:ext cx="1598729" cy="5951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kumimoji="1" lang="en-US" altLang="zh-CN" sz="1400" b="1" kern="0" dirty="0">
                  <a:solidFill>
                    <a:srgbClr val="566D8D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Fault &amp; SLA </a:t>
              </a:r>
            </a:p>
            <a:p>
              <a:pPr algn="ctr">
                <a:defRPr/>
              </a:pPr>
              <a:r>
                <a:rPr kumimoji="1" lang="en-US" altLang="zh-CN" sz="1400" b="1" kern="0" dirty="0">
                  <a:solidFill>
                    <a:srgbClr val="566D8D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Confirmation</a:t>
              </a:r>
            </a:p>
          </p:txBody>
        </p:sp>
        <p:sp>
          <p:nvSpPr>
            <p:cNvPr id="95" name="矩形 94"/>
            <p:cNvSpPr/>
            <p:nvPr/>
          </p:nvSpPr>
          <p:spPr>
            <a:xfrm>
              <a:off x="5099638" y="4826553"/>
              <a:ext cx="1430429" cy="35006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kumimoji="1" lang="en-US" altLang="zh-CN" sz="1400" b="1" kern="0" dirty="0">
                  <a:solidFill>
                    <a:srgbClr val="566D8D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Warehouse</a:t>
              </a:r>
            </a:p>
          </p:txBody>
        </p:sp>
        <p:sp>
          <p:nvSpPr>
            <p:cNvPr id="96" name="矩形 95"/>
            <p:cNvSpPr/>
            <p:nvPr/>
          </p:nvSpPr>
          <p:spPr>
            <a:xfrm>
              <a:off x="7183414" y="4846780"/>
              <a:ext cx="1887986" cy="35006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kumimoji="1" lang="en-US" altLang="zh-CN" sz="1400" b="1" kern="0" dirty="0">
                  <a:solidFill>
                    <a:srgbClr val="566D8D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Transportation</a:t>
              </a:r>
            </a:p>
          </p:txBody>
        </p:sp>
        <p:sp>
          <p:nvSpPr>
            <p:cNvPr id="97" name="文本框 96"/>
            <p:cNvSpPr txBox="1"/>
            <p:nvPr/>
          </p:nvSpPr>
          <p:spPr>
            <a:xfrm>
              <a:off x="10018733" y="4817027"/>
              <a:ext cx="1323545" cy="3500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kumimoji="1" lang="en-US" altLang="zh-CN" sz="1400" b="1" kern="0" dirty="0">
                  <a:solidFill>
                    <a:srgbClr val="566D8D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Customer</a:t>
              </a:r>
            </a:p>
          </p:txBody>
        </p:sp>
      </p:grpSp>
      <p:sp>
        <p:nvSpPr>
          <p:cNvPr id="27" name="文本占位符 2">
            <a:extLst>
              <a:ext uri="{FF2B5EF4-FFF2-40B4-BE49-F238E27FC236}">
                <a16:creationId xmlns:a16="http://schemas.microsoft.com/office/drawing/2014/main" xmlns="" id="{7E817D83-8F41-2437-C5BE-2842526EF96D}"/>
              </a:ext>
            </a:extLst>
          </p:cNvPr>
          <p:cNvSpPr txBox="1">
            <a:spLocks/>
          </p:cNvSpPr>
          <p:nvPr/>
        </p:nvSpPr>
        <p:spPr>
          <a:xfrm>
            <a:off x="285992" y="287759"/>
            <a:ext cx="11232908" cy="376242"/>
          </a:xfrm>
          <a:prstGeom prst="rect">
            <a:avLst/>
          </a:prstGeom>
        </p:spPr>
        <p:txBody>
          <a:bodyPr/>
          <a:lstStyle>
            <a:lvl1pPr marL="0" indent="0" algn="l" defTabSz="863600" rtl="0" eaLnBrk="1" latinLnBrk="0" hangingPunct="1">
              <a:lnSpc>
                <a:spcPct val="120000"/>
              </a:lnSpc>
              <a:spcBef>
                <a:spcPts val="945"/>
              </a:spcBef>
              <a:buFont typeface="Arial" panose="020B0604020202020204" pitchFamily="34" charset="0"/>
              <a:buNone/>
              <a:defRPr sz="1200" kern="1200">
                <a:solidFill>
                  <a:srgbClr val="50555A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431800" indent="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None/>
              <a:defRPr sz="2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1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19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437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8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86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04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22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800" dirty="0">
                <a:solidFill>
                  <a:schemeClr val="tx1"/>
                </a:solidFill>
                <a:latin typeface="Noto Sans Black" panose="020B0A02040504020204"/>
              </a:rPr>
              <a:t>RMA Process Introduction: </a:t>
            </a:r>
            <a:r>
              <a:rPr lang="en-US" altLang="zh-CN" sz="2500" dirty="0">
                <a:solidFill>
                  <a:srgbClr val="043CC1"/>
                </a:solidFill>
                <a:latin typeface="Noto Sans Black" panose="020B0A02040504020204"/>
              </a:rPr>
              <a:t>Advance Hardware Replacement (AHR) Service</a:t>
            </a:r>
            <a:endParaRPr lang="zh-CN" altLang="en-US" sz="2500" dirty="0">
              <a:solidFill>
                <a:srgbClr val="043CC1"/>
              </a:solidFill>
              <a:latin typeface="Noto Sans Black" panose="020B0A02040504020204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文本占位符 2">
            <a:extLst>
              <a:ext uri="{FF2B5EF4-FFF2-40B4-BE49-F238E27FC236}">
                <a16:creationId xmlns:a16="http://schemas.microsoft.com/office/drawing/2014/main" xmlns="" id="{7E817D83-8F41-2437-C5BE-2842526EF96D}"/>
              </a:ext>
            </a:extLst>
          </p:cNvPr>
          <p:cNvSpPr txBox="1">
            <a:spLocks/>
          </p:cNvSpPr>
          <p:nvPr/>
        </p:nvSpPr>
        <p:spPr>
          <a:xfrm>
            <a:off x="358850" y="341068"/>
            <a:ext cx="9892810" cy="3762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-215981" algn="l" defTabSz="863925" rtl="0" eaLnBrk="1" latinLnBrk="0" hangingPunct="1">
              <a:lnSpc>
                <a:spcPct val="90000"/>
              </a:lnSpc>
              <a:spcBef>
                <a:spcPts val="945"/>
              </a:spcBef>
              <a:buFont typeface="Arial" panose="020B0604020202020204" pitchFamily="34" charset="0"/>
              <a:buNone/>
              <a:defRPr lang="zh-CN" altLang="en-US" sz="2645" b="1" kern="1200" dirty="0">
                <a:solidFill>
                  <a:schemeClr val="tx1"/>
                </a:solidFill>
                <a:latin typeface="Arial" panose="020B0604020202020204" pitchFamily="34" charset="0"/>
                <a:ea typeface="方正兰亭中粗黑简体" panose="02000000000000000000" charset="-122"/>
                <a:cs typeface="Arial" panose="020B0604020202020204" pitchFamily="34" charset="0"/>
              </a:defRPr>
            </a:lvl1pPr>
            <a:lvl2pPr marL="647944" indent="-215981" algn="l" defTabSz="86392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9906" indent="-215981" algn="l" defTabSz="86392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1869" indent="-215981" algn="l" defTabSz="86392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43832" indent="-215981" algn="l" defTabSz="86392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5794" indent="-215981" algn="l" defTabSz="86392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757" indent="-215981" algn="l" defTabSz="86392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39719" indent="-215981" algn="l" defTabSz="86392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1682" indent="-215981" algn="l" defTabSz="86392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800" dirty="0">
                <a:latin typeface="Noto Sans Black" panose="020B0A02040504020204"/>
                <a:ea typeface="微软雅黑" panose="020B0503020204020204" charset="-122"/>
                <a:cs typeface="微软雅黑" panose="020B0503020204020204" charset="-122"/>
              </a:rPr>
              <a:t>Product R-Care+ </a:t>
            </a:r>
            <a:r>
              <a:rPr lang="en-US" altLang="zh-CN" sz="2800" dirty="0">
                <a:solidFill>
                  <a:srgbClr val="043CC1"/>
                </a:solidFill>
                <a:latin typeface="Noto Sans Black" panose="020B0A02040504020204"/>
                <a:ea typeface="微软雅黑" panose="020B0503020204020204" charset="-122"/>
                <a:cs typeface="微软雅黑" panose="020B0503020204020204" charset="-122"/>
              </a:rPr>
              <a:t>Experience</a:t>
            </a:r>
          </a:p>
        </p:txBody>
      </p:sp>
      <p:sp>
        <p:nvSpPr>
          <p:cNvPr id="35" name="Rectangle 8"/>
          <p:cNvSpPr>
            <a:spLocks noChangeArrowheads="1"/>
          </p:cNvSpPr>
          <p:nvPr/>
        </p:nvSpPr>
        <p:spPr bwMode="auto">
          <a:xfrm>
            <a:off x="2698544" y="5576284"/>
            <a:ext cx="5758589" cy="302484"/>
          </a:xfrm>
          <a:prstGeom prst="rect">
            <a:avLst/>
          </a:prstGeom>
          <a:solidFill>
            <a:srgbClr val="5F96C3"/>
          </a:solidFill>
          <a:ln>
            <a:noFill/>
          </a:ln>
        </p:spPr>
        <p:txBody>
          <a:bodyPr vert="horz" wrap="square" lIns="91440" tIns="45720" rIns="91440" bIns="45720" numCol="1" anchor="ctr" anchorCtr="1" compatLnSpc="1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uijie partners with you by sharing responsibilities and risks</a:t>
            </a:r>
          </a:p>
        </p:txBody>
      </p:sp>
      <p:sp>
        <p:nvSpPr>
          <p:cNvPr id="36" name="Rectangle 8"/>
          <p:cNvSpPr>
            <a:spLocks noChangeArrowheads="1"/>
          </p:cNvSpPr>
          <p:nvPr/>
        </p:nvSpPr>
        <p:spPr bwMode="auto">
          <a:xfrm>
            <a:off x="2698544" y="5164472"/>
            <a:ext cx="5758589" cy="286331"/>
          </a:xfrm>
          <a:prstGeom prst="rect">
            <a:avLst/>
          </a:prstGeom>
          <a:solidFill>
            <a:srgbClr val="5F96C3"/>
          </a:solidFill>
          <a:ln>
            <a:noFill/>
          </a:ln>
        </p:spPr>
        <p:txBody>
          <a:bodyPr vert="horz" wrap="square" lIns="91440" tIns="45720" rIns="91440" bIns="45720" numCol="1" anchor="ctr" anchorCtr="1" compatLnSpc="1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Minimize Losses from Equipment Failures</a:t>
            </a:r>
          </a:p>
        </p:txBody>
      </p:sp>
      <p:sp>
        <p:nvSpPr>
          <p:cNvPr id="37" name="矩形 36"/>
          <p:cNvSpPr/>
          <p:nvPr/>
        </p:nvSpPr>
        <p:spPr>
          <a:xfrm>
            <a:off x="681181" y="3059556"/>
            <a:ext cx="5759450" cy="892552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>
              <a:spcAft>
                <a:spcPts val="600"/>
              </a:spcAft>
            </a:pPr>
            <a:r>
              <a:rPr lang="en-US" altLang="zh-CN" sz="14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reventable</a:t>
            </a:r>
            <a:endParaRPr lang="en-US" altLang="zh-CN" sz="1400" dirty="0">
              <a:solidFill>
                <a:srgbClr val="C00000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zh-CN" sz="1100" kern="0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educe device</a:t>
            </a:r>
            <a:r>
              <a:rPr lang="zh-CN" altLang="en-US" sz="1100" kern="0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’</a:t>
            </a:r>
            <a:r>
              <a:rPr lang="en-US" altLang="zh-CN" sz="1100" kern="0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 fault rate and extent device</a:t>
            </a:r>
            <a:r>
              <a:rPr lang="zh-CN" altLang="en-US" sz="1100" kern="0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’</a:t>
            </a:r>
            <a:r>
              <a:rPr lang="en-US" altLang="zh-CN" sz="1100" kern="0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 service life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zh-CN" sz="1100" kern="0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Forecast potential risks in the network 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zh-CN" sz="1100" kern="0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Get patches for known bugs</a:t>
            </a:r>
            <a:endParaRPr lang="zh-CN" altLang="en-US" sz="1100" kern="0" dirty="0">
              <a:solidFill>
                <a:prstClr val="white"/>
              </a:solidFill>
              <a:latin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38" name="矩形 37"/>
          <p:cNvSpPr/>
          <p:nvPr/>
        </p:nvSpPr>
        <p:spPr>
          <a:xfrm>
            <a:off x="6335514" y="3059556"/>
            <a:ext cx="5759450" cy="892552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>
              <a:spcAft>
                <a:spcPts val="600"/>
              </a:spcAft>
            </a:pPr>
            <a:r>
              <a:rPr lang="en-US" altLang="zh-CN" sz="14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ecure</a:t>
            </a:r>
            <a:endParaRPr lang="en-US" altLang="zh-CN" sz="1400" dirty="0">
              <a:solidFill>
                <a:srgbClr val="C00000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zh-CN" sz="1100" kern="0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Handle daily maintenance problems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zh-CN" sz="1100" kern="0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educe risks during critical operations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zh-CN" sz="1100" kern="0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Network guarantee for critical moments</a:t>
            </a:r>
          </a:p>
        </p:txBody>
      </p:sp>
      <p:sp>
        <p:nvSpPr>
          <p:cNvPr id="39" name="矩形 38"/>
          <p:cNvSpPr/>
          <p:nvPr/>
        </p:nvSpPr>
        <p:spPr>
          <a:xfrm>
            <a:off x="6335514" y="4074570"/>
            <a:ext cx="5759450" cy="892552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>
              <a:spcAft>
                <a:spcPts val="600"/>
              </a:spcAft>
            </a:pPr>
            <a:r>
              <a:rPr lang="en-US" altLang="zh-CN" sz="14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Economic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zh-CN" sz="1100" kern="0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Fixed annual maintenance fee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zh-CN" sz="1100" kern="0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No extra fee for device’s maintenance and replacement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zh-CN" sz="1100" kern="0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afeguarding customers’ long-term service investment returns</a:t>
            </a:r>
          </a:p>
        </p:txBody>
      </p:sp>
      <p:sp>
        <p:nvSpPr>
          <p:cNvPr id="40" name="矩形 39"/>
          <p:cNvSpPr/>
          <p:nvPr/>
        </p:nvSpPr>
        <p:spPr>
          <a:xfrm>
            <a:off x="681181" y="4164474"/>
            <a:ext cx="5185437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en-US" altLang="zh-CN" sz="14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Faster-recovering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zh-CN" sz="1100" kern="0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Locate faults and recover business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US" altLang="zh-CN" sz="1100" kern="0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Massive spare parts warehouses to support your device replacement</a:t>
            </a:r>
          </a:p>
        </p:txBody>
      </p:sp>
      <p:grpSp>
        <p:nvGrpSpPr>
          <p:cNvPr id="6" name="组合 5"/>
          <p:cNvGrpSpPr/>
          <p:nvPr/>
        </p:nvGrpSpPr>
        <p:grpSpPr>
          <a:xfrm>
            <a:off x="759344" y="915841"/>
            <a:ext cx="9710128" cy="1940846"/>
            <a:chOff x="702042" y="802093"/>
            <a:chExt cx="9710128" cy="1940846"/>
          </a:xfrm>
        </p:grpSpPr>
        <p:pic>
          <p:nvPicPr>
            <p:cNvPr id="4" name="图片 3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50204" y="821626"/>
              <a:ext cx="2881969" cy="1921313"/>
            </a:xfrm>
            <a:prstGeom prst="rect">
              <a:avLst/>
            </a:prstGeom>
          </p:spPr>
        </p:pic>
        <p:pic>
          <p:nvPicPr>
            <p:cNvPr id="2" name="图片 1"/>
            <p:cNvPicPr>
              <a:picLocks noChangeAspect="1"/>
            </p:cNvPicPr>
            <p:nvPr/>
          </p:nvPicPr>
          <p:blipFill rotWithShape="1">
            <a:blip r:embed="rId3"/>
            <a:srcRect b="16252"/>
            <a:stretch/>
          </p:blipFill>
          <p:spPr>
            <a:xfrm>
              <a:off x="702042" y="812224"/>
              <a:ext cx="2881969" cy="1923807"/>
            </a:xfrm>
            <a:prstGeom prst="rect">
              <a:avLst/>
            </a:prstGeom>
          </p:spPr>
        </p:pic>
        <p:pic>
          <p:nvPicPr>
            <p:cNvPr id="3" name="图片 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68415" y="821626"/>
              <a:ext cx="2882196" cy="1921313"/>
            </a:xfrm>
            <a:prstGeom prst="rect">
              <a:avLst/>
            </a:prstGeom>
          </p:spPr>
        </p:pic>
        <p:sp>
          <p:nvSpPr>
            <p:cNvPr id="5" name="矩形 4"/>
            <p:cNvSpPr/>
            <p:nvPr/>
          </p:nvSpPr>
          <p:spPr>
            <a:xfrm>
              <a:off x="702042" y="802093"/>
              <a:ext cx="2879725" cy="1914405"/>
            </a:xfrm>
            <a:prstGeom prst="rect">
              <a:avLst/>
            </a:prstGeom>
            <a:solidFill>
              <a:srgbClr val="141F25">
                <a:alpha val="20000"/>
              </a:srgbClr>
            </a:solidFill>
            <a:ln>
              <a:noFill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矩形 21"/>
            <p:cNvSpPr/>
            <p:nvPr/>
          </p:nvSpPr>
          <p:spPr>
            <a:xfrm>
              <a:off x="4070886" y="819743"/>
              <a:ext cx="2879725" cy="1914405"/>
            </a:xfrm>
            <a:prstGeom prst="rect">
              <a:avLst/>
            </a:prstGeom>
            <a:solidFill>
              <a:srgbClr val="141F25">
                <a:alpha val="20000"/>
              </a:srgbClr>
            </a:solidFill>
            <a:ln>
              <a:noFill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矩形 27"/>
            <p:cNvSpPr/>
            <p:nvPr/>
          </p:nvSpPr>
          <p:spPr>
            <a:xfrm>
              <a:off x="702042" y="2030107"/>
              <a:ext cx="2879725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100" dirty="0">
                  <a:solidFill>
                    <a:schemeClr val="bg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Saudi Arabia, Government customers, Core product, </a:t>
              </a:r>
              <a:r>
                <a:rPr lang="en-US" altLang="zh-CN" sz="1100" b="1" dirty="0">
                  <a:solidFill>
                    <a:schemeClr val="bg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IDC, high business continuity requirements</a:t>
              </a:r>
              <a:endParaRPr lang="en-US" altLang="zh-CN" sz="1100" dirty="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31" name="矩形 30"/>
            <p:cNvSpPr/>
            <p:nvPr/>
          </p:nvSpPr>
          <p:spPr>
            <a:xfrm>
              <a:off x="4076657" y="2070167"/>
              <a:ext cx="2887760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100" dirty="0" err="1">
                  <a:solidFill>
                    <a:schemeClr val="bg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Türkiye</a:t>
              </a:r>
              <a:r>
                <a:rPr lang="en-US" altLang="zh-CN" sz="1100" dirty="0">
                  <a:solidFill>
                    <a:schemeClr val="bg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, Enterprise customer, Core product, </a:t>
              </a:r>
              <a:r>
                <a:rPr lang="en-US" altLang="zh-CN" sz="1100" b="1" dirty="0">
                  <a:solidFill>
                    <a:schemeClr val="bg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Longer warranty period requirements</a:t>
              </a:r>
            </a:p>
          </p:txBody>
        </p:sp>
        <p:sp>
          <p:nvSpPr>
            <p:cNvPr id="23" name="矩形 22"/>
            <p:cNvSpPr/>
            <p:nvPr/>
          </p:nvSpPr>
          <p:spPr>
            <a:xfrm>
              <a:off x="7250204" y="812224"/>
              <a:ext cx="2879725" cy="1914405"/>
            </a:xfrm>
            <a:prstGeom prst="rect">
              <a:avLst/>
            </a:prstGeom>
            <a:solidFill>
              <a:srgbClr val="141F25">
                <a:alpha val="20000"/>
              </a:srgbClr>
            </a:solidFill>
            <a:ln>
              <a:noFill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矩形 33"/>
            <p:cNvSpPr/>
            <p:nvPr/>
          </p:nvSpPr>
          <p:spPr>
            <a:xfrm>
              <a:off x="7244413" y="2061554"/>
              <a:ext cx="3167757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1100" dirty="0">
                  <a:solidFill>
                    <a:schemeClr val="bg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Singapore, Large Internet companies, working network, </a:t>
              </a:r>
              <a:r>
                <a:rPr lang="en-US" altLang="zh-CN" sz="1100" b="1" dirty="0">
                  <a:solidFill>
                    <a:schemeClr val="bg1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Core products, Faster service, Higher response requirements</a:t>
              </a:r>
              <a:endParaRPr lang="en-US" altLang="zh-CN" sz="1100" dirty="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52016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文本占位符 2">
            <a:extLst>
              <a:ext uri="{FF2B5EF4-FFF2-40B4-BE49-F238E27FC236}">
                <a16:creationId xmlns:a16="http://schemas.microsoft.com/office/drawing/2014/main" xmlns="" id="{7E817D83-8F41-2437-C5BE-2842526EF96D}"/>
              </a:ext>
            </a:extLst>
          </p:cNvPr>
          <p:cNvSpPr txBox="1">
            <a:spLocks/>
          </p:cNvSpPr>
          <p:nvPr/>
        </p:nvSpPr>
        <p:spPr>
          <a:xfrm>
            <a:off x="358850" y="341068"/>
            <a:ext cx="9892810" cy="3762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-215981" algn="l" defTabSz="863925" rtl="0" eaLnBrk="1" latinLnBrk="0" hangingPunct="1">
              <a:lnSpc>
                <a:spcPct val="90000"/>
              </a:lnSpc>
              <a:spcBef>
                <a:spcPts val="945"/>
              </a:spcBef>
              <a:buFont typeface="Arial" panose="020B0604020202020204" pitchFamily="34" charset="0"/>
              <a:buNone/>
              <a:defRPr lang="zh-CN" altLang="en-US" sz="2645" b="1" kern="1200" dirty="0">
                <a:solidFill>
                  <a:schemeClr val="tx1"/>
                </a:solidFill>
                <a:latin typeface="Arial" panose="020B0604020202020204" pitchFamily="34" charset="0"/>
                <a:ea typeface="方正兰亭中粗黑简体" panose="02000000000000000000" charset="-122"/>
                <a:cs typeface="Arial" panose="020B0604020202020204" pitchFamily="34" charset="0"/>
              </a:defRPr>
            </a:lvl1pPr>
            <a:lvl2pPr marL="647944" indent="-215981" algn="l" defTabSz="86392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9906" indent="-215981" algn="l" defTabSz="86392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1869" indent="-215981" algn="l" defTabSz="86392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43832" indent="-215981" algn="l" defTabSz="86392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5794" indent="-215981" algn="l" defTabSz="86392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757" indent="-215981" algn="l" defTabSz="86392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39719" indent="-215981" algn="l" defTabSz="86392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1682" indent="-215981" algn="l" defTabSz="86392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800" dirty="0">
                <a:solidFill>
                  <a:srgbClr val="0055CD"/>
                </a:solidFill>
                <a:latin typeface="Noto Sans Black" panose="020B0A02040504020204" pitchFamily="34" charset="0"/>
                <a:ea typeface="Noto Sans Black" panose="020B0A02040504020204" pitchFamily="34" charset="0"/>
                <a:cs typeface="Noto Sans Black" panose="020B0A02040504020204" pitchFamily="34" charset="0"/>
                <a:sym typeface="+mn-ea"/>
              </a:rPr>
              <a:t>Customer Voices of </a:t>
            </a:r>
            <a:r>
              <a:rPr lang="en-US" altLang="zh-CN" sz="2800" dirty="0">
                <a:latin typeface="Noto Sans Black" panose="020B0A02040504020204" pitchFamily="34" charset="0"/>
                <a:ea typeface="Noto Sans Black" panose="020B0A02040504020204" pitchFamily="34" charset="0"/>
                <a:cs typeface="Noto Sans Black" panose="020B0A02040504020204" pitchFamily="34" charset="0"/>
                <a:sym typeface="+mn-ea"/>
              </a:rPr>
              <a:t>Ruijie Service Experience</a:t>
            </a:r>
            <a:endParaRPr lang="en-US" altLang="zh-CN" sz="2800" dirty="0">
              <a:latin typeface="Noto Sans Black" panose="020B0A02040504020204"/>
              <a:ea typeface="Noto Sans Black" panose="020B0A02040504020204" pitchFamily="34" charset="0"/>
              <a:cs typeface="Noto Sans Black" panose="020B0A02040504020204" pitchFamily="34" charset="0"/>
            </a:endParaRPr>
          </a:p>
        </p:txBody>
      </p:sp>
      <p:sp>
        <p:nvSpPr>
          <p:cNvPr id="56" name="文本框 55"/>
          <p:cNvSpPr txBox="1"/>
          <p:nvPr>
            <p:custDataLst>
              <p:tags r:id="rId1"/>
            </p:custDataLst>
          </p:nvPr>
        </p:nvSpPr>
        <p:spPr>
          <a:xfrm>
            <a:off x="680049" y="957407"/>
            <a:ext cx="100594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1400" b="1" i="1" kern="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uijie </a:t>
            </a:r>
            <a:r>
              <a:rPr lang="en-US" altLang="zh-CN" sz="1400" b="1" i="1" kern="0" dirty="0">
                <a:solidFill>
                  <a:prstClr val="black">
                    <a:lumMod val="85000"/>
                    <a:lumOff val="15000"/>
                  </a:prst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ervice </a:t>
            </a:r>
            <a:r>
              <a:rPr lang="en-US" altLang="zh-CN" sz="1400" b="1" i="1" kern="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Value</a:t>
            </a:r>
            <a:r>
              <a:rPr lang="en-US" altLang="zh-CN" sz="1400" i="1" kern="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: Provide </a:t>
            </a:r>
            <a:r>
              <a:rPr lang="en-US" altLang="zh-CN" sz="1600" b="1" i="1" kern="0" dirty="0">
                <a:solidFill>
                  <a:prstClr val="black">
                    <a:lumMod val="85000"/>
                    <a:lumOff val="15000"/>
                  </a:prst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faster</a:t>
            </a:r>
            <a:r>
              <a:rPr lang="en-US" altLang="zh-CN" sz="1400" i="1" kern="0" dirty="0">
                <a:solidFill>
                  <a:prstClr val="black">
                    <a:lumMod val="85000"/>
                    <a:lumOff val="15000"/>
                  </a:prst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and more </a:t>
            </a:r>
            <a:r>
              <a:rPr lang="en-US" altLang="zh-CN" sz="1600" b="1" i="1" kern="0" dirty="0">
                <a:solidFill>
                  <a:prstClr val="black">
                    <a:lumMod val="85000"/>
                    <a:lumOff val="15000"/>
                  </a:prst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rofessional</a:t>
            </a:r>
            <a:r>
              <a:rPr lang="en-US" altLang="zh-CN" sz="1400" i="1" kern="0" dirty="0">
                <a:solidFill>
                  <a:prstClr val="black">
                    <a:lumMod val="85000"/>
                    <a:lumOff val="15000"/>
                  </a:prst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services </a:t>
            </a:r>
            <a:r>
              <a:rPr lang="en-US" altLang="zh-CN" sz="1400" i="1" kern="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for </a:t>
            </a:r>
            <a:r>
              <a:rPr lang="en-US" altLang="zh-CN" sz="1400" i="1" kern="0" dirty="0">
                <a:solidFill>
                  <a:prstClr val="black">
                    <a:lumMod val="85000"/>
                    <a:lumOff val="15000"/>
                  </a:prst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ustomers </a:t>
            </a:r>
          </a:p>
        </p:txBody>
      </p:sp>
      <p:sp>
        <p:nvSpPr>
          <p:cNvPr id="57" name="圆角矩形 56"/>
          <p:cNvSpPr/>
          <p:nvPr>
            <p:custDataLst>
              <p:tags r:id="rId2"/>
            </p:custDataLst>
          </p:nvPr>
        </p:nvSpPr>
        <p:spPr>
          <a:xfrm>
            <a:off x="737166" y="1418710"/>
            <a:ext cx="9863832" cy="859056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1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Voices from Customers: </a:t>
            </a:r>
          </a:p>
          <a:p>
            <a:pPr marL="0" marR="0" lvl="0" indent="0" defTabSz="914400" eaLnBrk="1" fontAlgn="auto" latinLnBrk="0" hangingPunct="1">
              <a:lnSpc>
                <a:spcPct val="125000"/>
              </a:lnSpc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0" i="1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uijie </a:t>
            </a:r>
            <a:r>
              <a:rPr kumimoji="0" lang="en-US" altLang="zh-CN" sz="1400" b="0" i="1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egional post-sales engineers have provided customers with more service access channels, more efficient service responses, more professional problem-solving solutions, and more valuable empowerment </a:t>
            </a:r>
            <a:r>
              <a:rPr kumimoji="0" lang="en-US" altLang="zh-CN" sz="1400" b="0" i="1" u="none" strike="noStrike" kern="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trainings.</a:t>
            </a:r>
            <a:endParaRPr kumimoji="0" lang="en-US" altLang="zh-CN" sz="1400" b="0" i="1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58" name="对角圆角矩形 57"/>
          <p:cNvSpPr/>
          <p:nvPr>
            <p:custDataLst>
              <p:tags r:id="rId3"/>
            </p:custDataLst>
          </p:nvPr>
        </p:nvSpPr>
        <p:spPr>
          <a:xfrm>
            <a:off x="758936" y="2414238"/>
            <a:ext cx="3848386" cy="406621"/>
          </a:xfrm>
          <a:prstGeom prst="round2DiagRect">
            <a:avLst>
              <a:gd name="adj1" fmla="val 49736"/>
              <a:gd name="adj2" fmla="val 0"/>
            </a:avLst>
          </a:prstGeom>
          <a:solidFill>
            <a:srgbClr val="5F96C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fr-FR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nstance 1 : </a:t>
            </a:r>
            <a:r>
              <a:rPr kumimoji="0" lang="fr-FR" sz="14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Excellent Technical Support </a:t>
            </a:r>
            <a:endParaRPr kumimoji="0" lang="fr-FR" sz="12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grpSp>
        <p:nvGrpSpPr>
          <p:cNvPr id="59" name="组合 58"/>
          <p:cNvGrpSpPr/>
          <p:nvPr/>
        </p:nvGrpSpPr>
        <p:grpSpPr>
          <a:xfrm>
            <a:off x="764819" y="3914952"/>
            <a:ext cx="4883590" cy="2216265"/>
            <a:chOff x="653927" y="5341018"/>
            <a:chExt cx="5400600" cy="2783497"/>
          </a:xfrm>
          <a:effectLst/>
        </p:grpSpPr>
        <p:pic>
          <p:nvPicPr>
            <p:cNvPr id="60" name="图片 59"/>
            <p:cNvPicPr>
              <a:picLocks noChangeAspect="1"/>
            </p:cNvPicPr>
            <p:nvPr>
              <p:custDataLst>
                <p:tags r:id="rId33"/>
              </p:custDataLst>
            </p:nvPr>
          </p:nvPicPr>
          <p:blipFill>
            <a:blip r:embed="rId3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3927" y="5341018"/>
              <a:ext cx="5400600" cy="278349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61" name="矩形 60"/>
            <p:cNvSpPr/>
            <p:nvPr>
              <p:custDataLst>
                <p:tags r:id="rId34"/>
              </p:custDataLst>
            </p:nvPr>
          </p:nvSpPr>
          <p:spPr>
            <a:xfrm>
              <a:off x="902594" y="5544343"/>
              <a:ext cx="1080120" cy="72008"/>
            </a:xfrm>
            <a:prstGeom prst="rect">
              <a:avLst/>
            </a:prstGeom>
            <a:blipFill>
              <a:blip r:embed="rId38"/>
              <a:tile tx="0" ty="0" sx="100000" sy="100000" flip="none" algn="tl"/>
            </a:blip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en-US" kern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62" name="矩形 61"/>
            <p:cNvSpPr/>
            <p:nvPr>
              <p:custDataLst>
                <p:tags r:id="rId35"/>
              </p:custDataLst>
            </p:nvPr>
          </p:nvSpPr>
          <p:spPr>
            <a:xfrm>
              <a:off x="716658" y="7776590"/>
              <a:ext cx="1514400" cy="335685"/>
            </a:xfrm>
            <a:prstGeom prst="rect">
              <a:avLst/>
            </a:prstGeom>
            <a:blipFill>
              <a:blip r:embed="rId38"/>
              <a:tile tx="0" ty="0" sx="100000" sy="100000" flip="none" algn="tl"/>
            </a:blip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</p:grpSp>
      <p:grpSp>
        <p:nvGrpSpPr>
          <p:cNvPr id="63" name="组合 62"/>
          <p:cNvGrpSpPr/>
          <p:nvPr/>
        </p:nvGrpSpPr>
        <p:grpSpPr>
          <a:xfrm>
            <a:off x="5831458" y="3914951"/>
            <a:ext cx="4791310" cy="2216265"/>
            <a:chOff x="4679330" y="4194942"/>
            <a:chExt cx="6264696" cy="2761259"/>
          </a:xfrm>
        </p:grpSpPr>
        <p:grpSp>
          <p:nvGrpSpPr>
            <p:cNvPr id="64" name="组合 63"/>
            <p:cNvGrpSpPr/>
            <p:nvPr/>
          </p:nvGrpSpPr>
          <p:grpSpPr>
            <a:xfrm>
              <a:off x="4679330" y="4194942"/>
              <a:ext cx="6264696" cy="2761259"/>
              <a:chOff x="-2478411" y="-222711"/>
              <a:chExt cx="15894410" cy="6494755"/>
            </a:xfrm>
          </p:grpSpPr>
          <p:pic>
            <p:nvPicPr>
              <p:cNvPr id="87" name="图片 86"/>
              <p:cNvPicPr>
                <a:picLocks noChangeAspect="1"/>
              </p:cNvPicPr>
              <p:nvPr>
                <p:custDataLst>
                  <p:tags r:id="rId27"/>
                </p:custDataLst>
              </p:nvPr>
            </p:nvPicPr>
            <p:blipFill>
              <a:blip r:embed="rId3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86842" y="-216297"/>
                <a:ext cx="2583708" cy="6480175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88" name="图片 87"/>
              <p:cNvPicPr>
                <a:picLocks noChangeAspect="1"/>
              </p:cNvPicPr>
              <p:nvPr>
                <p:custDataLst>
                  <p:tags r:id="rId28"/>
                </p:custDataLst>
              </p:nvPr>
            </p:nvPicPr>
            <p:blipFill>
              <a:blip r:embed="rId4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870550" y="-219828"/>
                <a:ext cx="2590393" cy="6480175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89" name="图片 88"/>
              <p:cNvPicPr>
                <a:picLocks noChangeAspect="1"/>
              </p:cNvPicPr>
              <p:nvPr>
                <p:custDataLst>
                  <p:tags r:id="rId29"/>
                </p:custDataLst>
              </p:nvPr>
            </p:nvPicPr>
            <p:blipFill>
              <a:blip r:embed="rId4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436602" y="-208131"/>
                <a:ext cx="2633878" cy="6480175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90" name="图片 89"/>
              <p:cNvPicPr>
                <a:picLocks noChangeAspect="1"/>
              </p:cNvPicPr>
              <p:nvPr>
                <p:custDataLst>
                  <p:tags r:id="rId30"/>
                </p:custDataLst>
              </p:nvPr>
            </p:nvPicPr>
            <p:blipFill>
              <a:blip r:embed="rId4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997737" y="-222711"/>
                <a:ext cx="2746122" cy="6480174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91" name="图片 90"/>
              <p:cNvPicPr>
                <a:picLocks noChangeAspect="1"/>
              </p:cNvPicPr>
              <p:nvPr>
                <p:custDataLst>
                  <p:tags r:id="rId31"/>
                </p:custDataLst>
              </p:nvPr>
            </p:nvPicPr>
            <p:blipFill>
              <a:blip r:embed="rId4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631615" y="-208130"/>
                <a:ext cx="2784384" cy="6480174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92" name="图片 91"/>
              <p:cNvPicPr>
                <a:picLocks noChangeAspect="1"/>
              </p:cNvPicPr>
              <p:nvPr>
                <p:custDataLst>
                  <p:tags r:id="rId32"/>
                </p:custDataLst>
              </p:nvPr>
            </p:nvPicPr>
            <p:blipFill>
              <a:blip r:embed="rId4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2478411" y="-222711"/>
                <a:ext cx="2784385" cy="6480175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</p:grpSp>
        <p:sp>
          <p:nvSpPr>
            <p:cNvPr id="65" name="矩形 64"/>
            <p:cNvSpPr/>
            <p:nvPr>
              <p:custDataLst>
                <p:tags r:id="rId5"/>
              </p:custDataLst>
            </p:nvPr>
          </p:nvSpPr>
          <p:spPr>
            <a:xfrm>
              <a:off x="4734609" y="4211387"/>
              <a:ext cx="576064" cy="144016"/>
            </a:xfrm>
            <a:prstGeom prst="rect">
              <a:avLst/>
            </a:prstGeom>
            <a:solidFill>
              <a:srgbClr val="141F25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66" name="矩形 65"/>
            <p:cNvSpPr/>
            <p:nvPr>
              <p:custDataLst>
                <p:tags r:id="rId6"/>
              </p:custDataLst>
            </p:nvPr>
          </p:nvSpPr>
          <p:spPr>
            <a:xfrm>
              <a:off x="4715137" y="5256311"/>
              <a:ext cx="576064" cy="106764"/>
            </a:xfrm>
            <a:prstGeom prst="rect">
              <a:avLst/>
            </a:prstGeom>
            <a:solidFill>
              <a:srgbClr val="141F25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67" name="矩形 66"/>
            <p:cNvSpPr/>
            <p:nvPr>
              <p:custDataLst>
                <p:tags r:id="rId7"/>
              </p:custDataLst>
            </p:nvPr>
          </p:nvSpPr>
          <p:spPr>
            <a:xfrm>
              <a:off x="4715137" y="5383816"/>
              <a:ext cx="576064" cy="88519"/>
            </a:xfrm>
            <a:prstGeom prst="rect">
              <a:avLst/>
            </a:prstGeom>
            <a:solidFill>
              <a:srgbClr val="141F25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68" name="矩形 67"/>
            <p:cNvSpPr/>
            <p:nvPr>
              <p:custDataLst>
                <p:tags r:id="rId8"/>
              </p:custDataLst>
            </p:nvPr>
          </p:nvSpPr>
          <p:spPr>
            <a:xfrm>
              <a:off x="5824519" y="4211387"/>
              <a:ext cx="576064" cy="144016"/>
            </a:xfrm>
            <a:prstGeom prst="rect">
              <a:avLst/>
            </a:prstGeom>
            <a:solidFill>
              <a:srgbClr val="141F25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69" name="矩形 68"/>
            <p:cNvSpPr/>
            <p:nvPr>
              <p:custDataLst>
                <p:tags r:id="rId9"/>
              </p:custDataLst>
            </p:nvPr>
          </p:nvSpPr>
          <p:spPr>
            <a:xfrm>
              <a:off x="5821127" y="5531936"/>
              <a:ext cx="576064" cy="144016"/>
            </a:xfrm>
            <a:prstGeom prst="rect">
              <a:avLst/>
            </a:prstGeom>
            <a:solidFill>
              <a:srgbClr val="141F25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70" name="矩形 69"/>
            <p:cNvSpPr/>
            <p:nvPr>
              <p:custDataLst>
                <p:tags r:id="rId10"/>
              </p:custDataLst>
            </p:nvPr>
          </p:nvSpPr>
          <p:spPr>
            <a:xfrm>
              <a:off x="5821126" y="6408439"/>
              <a:ext cx="730411" cy="144016"/>
            </a:xfrm>
            <a:prstGeom prst="rect">
              <a:avLst/>
            </a:prstGeom>
            <a:solidFill>
              <a:srgbClr val="141F25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71" name="矩形 70"/>
            <p:cNvSpPr/>
            <p:nvPr>
              <p:custDataLst>
                <p:tags r:id="rId11"/>
              </p:custDataLst>
            </p:nvPr>
          </p:nvSpPr>
          <p:spPr>
            <a:xfrm>
              <a:off x="6844654" y="4223416"/>
              <a:ext cx="576064" cy="144016"/>
            </a:xfrm>
            <a:prstGeom prst="rect">
              <a:avLst/>
            </a:prstGeom>
            <a:solidFill>
              <a:srgbClr val="141F25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72" name="矩形 71"/>
            <p:cNvSpPr/>
            <p:nvPr>
              <p:custDataLst>
                <p:tags r:id="rId12"/>
              </p:custDataLst>
            </p:nvPr>
          </p:nvSpPr>
          <p:spPr>
            <a:xfrm>
              <a:off x="6877835" y="4536231"/>
              <a:ext cx="576064" cy="75332"/>
            </a:xfrm>
            <a:prstGeom prst="rect">
              <a:avLst/>
            </a:prstGeom>
            <a:solidFill>
              <a:srgbClr val="141F25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73" name="矩形 72"/>
            <p:cNvSpPr/>
            <p:nvPr>
              <p:custDataLst>
                <p:tags r:id="rId13"/>
              </p:custDataLst>
            </p:nvPr>
          </p:nvSpPr>
          <p:spPr>
            <a:xfrm>
              <a:off x="6911594" y="6408439"/>
              <a:ext cx="576064" cy="75332"/>
            </a:xfrm>
            <a:prstGeom prst="rect">
              <a:avLst/>
            </a:prstGeom>
            <a:solidFill>
              <a:srgbClr val="141F25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74" name="矩形 73"/>
            <p:cNvSpPr/>
            <p:nvPr>
              <p:custDataLst>
                <p:tags r:id="rId14"/>
              </p:custDataLst>
            </p:nvPr>
          </p:nvSpPr>
          <p:spPr>
            <a:xfrm>
              <a:off x="6911594" y="6642167"/>
              <a:ext cx="648056" cy="126312"/>
            </a:xfrm>
            <a:prstGeom prst="rect">
              <a:avLst/>
            </a:prstGeom>
            <a:solidFill>
              <a:srgbClr val="141F25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75" name="矩形 74"/>
            <p:cNvSpPr/>
            <p:nvPr>
              <p:custDataLst>
                <p:tags r:id="rId15"/>
              </p:custDataLst>
            </p:nvPr>
          </p:nvSpPr>
          <p:spPr>
            <a:xfrm>
              <a:off x="7854110" y="4211387"/>
              <a:ext cx="785659" cy="144016"/>
            </a:xfrm>
            <a:prstGeom prst="rect">
              <a:avLst/>
            </a:prstGeom>
            <a:solidFill>
              <a:srgbClr val="141F25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76" name="矩形 75"/>
            <p:cNvSpPr/>
            <p:nvPr>
              <p:custDataLst>
                <p:tags r:id="rId16"/>
              </p:custDataLst>
            </p:nvPr>
          </p:nvSpPr>
          <p:spPr>
            <a:xfrm>
              <a:off x="8866101" y="4208914"/>
              <a:ext cx="655095" cy="144016"/>
            </a:xfrm>
            <a:prstGeom prst="rect">
              <a:avLst/>
            </a:prstGeom>
            <a:solidFill>
              <a:srgbClr val="141F25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77" name="矩形 33"/>
            <p:cNvSpPr/>
            <p:nvPr>
              <p:custDataLst>
                <p:tags r:id="rId17"/>
              </p:custDataLst>
            </p:nvPr>
          </p:nvSpPr>
          <p:spPr>
            <a:xfrm>
              <a:off x="8837120" y="4824263"/>
              <a:ext cx="750540" cy="101153"/>
            </a:xfrm>
            <a:custGeom>
              <a:avLst/>
              <a:gdLst>
                <a:gd name="connsiteX0" fmla="*/ 0 w 655095"/>
                <a:gd name="connsiteY0" fmla="*/ 0 h 144016"/>
                <a:gd name="connsiteX1" fmla="*/ 655095 w 655095"/>
                <a:gd name="connsiteY1" fmla="*/ 0 h 144016"/>
                <a:gd name="connsiteX2" fmla="*/ 655095 w 655095"/>
                <a:gd name="connsiteY2" fmla="*/ 144016 h 144016"/>
                <a:gd name="connsiteX3" fmla="*/ 0 w 655095"/>
                <a:gd name="connsiteY3" fmla="*/ 144016 h 144016"/>
                <a:gd name="connsiteX4" fmla="*/ 0 w 655095"/>
                <a:gd name="connsiteY4" fmla="*/ 0 h 144016"/>
                <a:gd name="connsiteX0-1" fmla="*/ 0 w 655095"/>
                <a:gd name="connsiteY0-2" fmla="*/ 0 h 144016"/>
                <a:gd name="connsiteX1-3" fmla="*/ 655095 w 655095"/>
                <a:gd name="connsiteY1-4" fmla="*/ 42863 h 144016"/>
                <a:gd name="connsiteX2-5" fmla="*/ 655095 w 655095"/>
                <a:gd name="connsiteY2-6" fmla="*/ 144016 h 144016"/>
                <a:gd name="connsiteX3-7" fmla="*/ 0 w 655095"/>
                <a:gd name="connsiteY3-8" fmla="*/ 144016 h 144016"/>
                <a:gd name="connsiteX4-9" fmla="*/ 0 w 655095"/>
                <a:gd name="connsiteY4-10" fmla="*/ 0 h 144016"/>
                <a:gd name="connsiteX0-11" fmla="*/ 0 w 659857"/>
                <a:gd name="connsiteY0-12" fmla="*/ 2381 h 101153"/>
                <a:gd name="connsiteX1-13" fmla="*/ 659857 w 659857"/>
                <a:gd name="connsiteY1-14" fmla="*/ 0 h 101153"/>
                <a:gd name="connsiteX2-15" fmla="*/ 659857 w 659857"/>
                <a:gd name="connsiteY2-16" fmla="*/ 101153 h 101153"/>
                <a:gd name="connsiteX3-17" fmla="*/ 4762 w 659857"/>
                <a:gd name="connsiteY3-18" fmla="*/ 101153 h 101153"/>
                <a:gd name="connsiteX4-19" fmla="*/ 0 w 659857"/>
                <a:gd name="connsiteY4-20" fmla="*/ 2381 h 101153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659857" h="101153">
                  <a:moveTo>
                    <a:pt x="0" y="2381"/>
                  </a:moveTo>
                  <a:lnTo>
                    <a:pt x="659857" y="0"/>
                  </a:lnTo>
                  <a:lnTo>
                    <a:pt x="659857" y="101153"/>
                  </a:lnTo>
                  <a:lnTo>
                    <a:pt x="4762" y="101153"/>
                  </a:lnTo>
                  <a:lnTo>
                    <a:pt x="0" y="2381"/>
                  </a:lnTo>
                  <a:close/>
                </a:path>
              </a:pathLst>
            </a:custGeom>
            <a:solidFill>
              <a:srgbClr val="141F25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78" name="矩形 33"/>
            <p:cNvSpPr/>
            <p:nvPr>
              <p:custDataLst>
                <p:tags r:id="rId18"/>
              </p:custDataLst>
            </p:nvPr>
          </p:nvSpPr>
          <p:spPr>
            <a:xfrm>
              <a:off x="8818040" y="5832375"/>
              <a:ext cx="769619" cy="130589"/>
            </a:xfrm>
            <a:custGeom>
              <a:avLst/>
              <a:gdLst>
                <a:gd name="connsiteX0" fmla="*/ 0 w 655095"/>
                <a:gd name="connsiteY0" fmla="*/ 0 h 144016"/>
                <a:gd name="connsiteX1" fmla="*/ 655095 w 655095"/>
                <a:gd name="connsiteY1" fmla="*/ 0 h 144016"/>
                <a:gd name="connsiteX2" fmla="*/ 655095 w 655095"/>
                <a:gd name="connsiteY2" fmla="*/ 144016 h 144016"/>
                <a:gd name="connsiteX3" fmla="*/ 0 w 655095"/>
                <a:gd name="connsiteY3" fmla="*/ 144016 h 144016"/>
                <a:gd name="connsiteX4" fmla="*/ 0 w 655095"/>
                <a:gd name="connsiteY4" fmla="*/ 0 h 144016"/>
                <a:gd name="connsiteX0-1" fmla="*/ 0 w 655095"/>
                <a:gd name="connsiteY0-2" fmla="*/ 0 h 144016"/>
                <a:gd name="connsiteX1-3" fmla="*/ 655095 w 655095"/>
                <a:gd name="connsiteY1-4" fmla="*/ 42863 h 144016"/>
                <a:gd name="connsiteX2-5" fmla="*/ 655095 w 655095"/>
                <a:gd name="connsiteY2-6" fmla="*/ 144016 h 144016"/>
                <a:gd name="connsiteX3-7" fmla="*/ 0 w 655095"/>
                <a:gd name="connsiteY3-8" fmla="*/ 144016 h 144016"/>
                <a:gd name="connsiteX4-9" fmla="*/ 0 w 655095"/>
                <a:gd name="connsiteY4-10" fmla="*/ 0 h 144016"/>
                <a:gd name="connsiteX0-11" fmla="*/ 0 w 659857"/>
                <a:gd name="connsiteY0-12" fmla="*/ 2381 h 101153"/>
                <a:gd name="connsiteX1-13" fmla="*/ 659857 w 659857"/>
                <a:gd name="connsiteY1-14" fmla="*/ 0 h 101153"/>
                <a:gd name="connsiteX2-15" fmla="*/ 659857 w 659857"/>
                <a:gd name="connsiteY2-16" fmla="*/ 101153 h 101153"/>
                <a:gd name="connsiteX3-17" fmla="*/ 4762 w 659857"/>
                <a:gd name="connsiteY3-18" fmla="*/ 101153 h 101153"/>
                <a:gd name="connsiteX4-19" fmla="*/ 0 w 659857"/>
                <a:gd name="connsiteY4-20" fmla="*/ 2381 h 101153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659857" h="101153">
                  <a:moveTo>
                    <a:pt x="0" y="2381"/>
                  </a:moveTo>
                  <a:lnTo>
                    <a:pt x="659857" y="0"/>
                  </a:lnTo>
                  <a:lnTo>
                    <a:pt x="659857" y="101153"/>
                  </a:lnTo>
                  <a:lnTo>
                    <a:pt x="4762" y="101153"/>
                  </a:lnTo>
                  <a:lnTo>
                    <a:pt x="0" y="2381"/>
                  </a:lnTo>
                  <a:close/>
                </a:path>
              </a:pathLst>
            </a:custGeom>
            <a:solidFill>
              <a:srgbClr val="141F25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79" name="矩形 78"/>
            <p:cNvSpPr/>
            <p:nvPr>
              <p:custDataLst>
                <p:tags r:id="rId19"/>
              </p:custDataLst>
            </p:nvPr>
          </p:nvSpPr>
          <p:spPr>
            <a:xfrm>
              <a:off x="9903430" y="4200086"/>
              <a:ext cx="655095" cy="144016"/>
            </a:xfrm>
            <a:prstGeom prst="rect">
              <a:avLst/>
            </a:prstGeom>
            <a:solidFill>
              <a:srgbClr val="141F25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80" name="矩形 33"/>
            <p:cNvSpPr/>
            <p:nvPr>
              <p:custDataLst>
                <p:tags r:id="rId20"/>
              </p:custDataLst>
            </p:nvPr>
          </p:nvSpPr>
          <p:spPr>
            <a:xfrm>
              <a:off x="8818041" y="6395755"/>
              <a:ext cx="109762" cy="130589"/>
            </a:xfrm>
            <a:custGeom>
              <a:avLst/>
              <a:gdLst>
                <a:gd name="connsiteX0" fmla="*/ 0 w 655095"/>
                <a:gd name="connsiteY0" fmla="*/ 0 h 144016"/>
                <a:gd name="connsiteX1" fmla="*/ 655095 w 655095"/>
                <a:gd name="connsiteY1" fmla="*/ 0 h 144016"/>
                <a:gd name="connsiteX2" fmla="*/ 655095 w 655095"/>
                <a:gd name="connsiteY2" fmla="*/ 144016 h 144016"/>
                <a:gd name="connsiteX3" fmla="*/ 0 w 655095"/>
                <a:gd name="connsiteY3" fmla="*/ 144016 h 144016"/>
                <a:gd name="connsiteX4" fmla="*/ 0 w 655095"/>
                <a:gd name="connsiteY4" fmla="*/ 0 h 144016"/>
                <a:gd name="connsiteX0-1" fmla="*/ 0 w 655095"/>
                <a:gd name="connsiteY0-2" fmla="*/ 0 h 144016"/>
                <a:gd name="connsiteX1-3" fmla="*/ 655095 w 655095"/>
                <a:gd name="connsiteY1-4" fmla="*/ 42863 h 144016"/>
                <a:gd name="connsiteX2-5" fmla="*/ 655095 w 655095"/>
                <a:gd name="connsiteY2-6" fmla="*/ 144016 h 144016"/>
                <a:gd name="connsiteX3-7" fmla="*/ 0 w 655095"/>
                <a:gd name="connsiteY3-8" fmla="*/ 144016 h 144016"/>
                <a:gd name="connsiteX4-9" fmla="*/ 0 w 655095"/>
                <a:gd name="connsiteY4-10" fmla="*/ 0 h 144016"/>
                <a:gd name="connsiteX0-11" fmla="*/ 0 w 659857"/>
                <a:gd name="connsiteY0-12" fmla="*/ 2381 h 101153"/>
                <a:gd name="connsiteX1-13" fmla="*/ 659857 w 659857"/>
                <a:gd name="connsiteY1-14" fmla="*/ 0 h 101153"/>
                <a:gd name="connsiteX2-15" fmla="*/ 659857 w 659857"/>
                <a:gd name="connsiteY2-16" fmla="*/ 101153 h 101153"/>
                <a:gd name="connsiteX3-17" fmla="*/ 4762 w 659857"/>
                <a:gd name="connsiteY3-18" fmla="*/ 101153 h 101153"/>
                <a:gd name="connsiteX4-19" fmla="*/ 0 w 659857"/>
                <a:gd name="connsiteY4-20" fmla="*/ 2381 h 101153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659857" h="101153">
                  <a:moveTo>
                    <a:pt x="0" y="2381"/>
                  </a:moveTo>
                  <a:lnTo>
                    <a:pt x="659857" y="0"/>
                  </a:lnTo>
                  <a:lnTo>
                    <a:pt x="659857" y="101153"/>
                  </a:lnTo>
                  <a:lnTo>
                    <a:pt x="4762" y="101153"/>
                  </a:lnTo>
                  <a:lnTo>
                    <a:pt x="0" y="2381"/>
                  </a:lnTo>
                  <a:close/>
                </a:path>
              </a:pathLst>
            </a:custGeom>
            <a:solidFill>
              <a:srgbClr val="141F25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81" name="矩形 33"/>
            <p:cNvSpPr/>
            <p:nvPr>
              <p:custDataLst>
                <p:tags r:id="rId21"/>
              </p:custDataLst>
            </p:nvPr>
          </p:nvSpPr>
          <p:spPr>
            <a:xfrm>
              <a:off x="9860118" y="4575850"/>
              <a:ext cx="769619" cy="130589"/>
            </a:xfrm>
            <a:custGeom>
              <a:avLst/>
              <a:gdLst>
                <a:gd name="connsiteX0" fmla="*/ 0 w 655095"/>
                <a:gd name="connsiteY0" fmla="*/ 0 h 144016"/>
                <a:gd name="connsiteX1" fmla="*/ 655095 w 655095"/>
                <a:gd name="connsiteY1" fmla="*/ 0 h 144016"/>
                <a:gd name="connsiteX2" fmla="*/ 655095 w 655095"/>
                <a:gd name="connsiteY2" fmla="*/ 144016 h 144016"/>
                <a:gd name="connsiteX3" fmla="*/ 0 w 655095"/>
                <a:gd name="connsiteY3" fmla="*/ 144016 h 144016"/>
                <a:gd name="connsiteX4" fmla="*/ 0 w 655095"/>
                <a:gd name="connsiteY4" fmla="*/ 0 h 144016"/>
                <a:gd name="connsiteX0-1" fmla="*/ 0 w 655095"/>
                <a:gd name="connsiteY0-2" fmla="*/ 0 h 144016"/>
                <a:gd name="connsiteX1-3" fmla="*/ 655095 w 655095"/>
                <a:gd name="connsiteY1-4" fmla="*/ 42863 h 144016"/>
                <a:gd name="connsiteX2-5" fmla="*/ 655095 w 655095"/>
                <a:gd name="connsiteY2-6" fmla="*/ 144016 h 144016"/>
                <a:gd name="connsiteX3-7" fmla="*/ 0 w 655095"/>
                <a:gd name="connsiteY3-8" fmla="*/ 144016 h 144016"/>
                <a:gd name="connsiteX4-9" fmla="*/ 0 w 655095"/>
                <a:gd name="connsiteY4-10" fmla="*/ 0 h 144016"/>
                <a:gd name="connsiteX0-11" fmla="*/ 0 w 659857"/>
                <a:gd name="connsiteY0-12" fmla="*/ 2381 h 101153"/>
                <a:gd name="connsiteX1-13" fmla="*/ 659857 w 659857"/>
                <a:gd name="connsiteY1-14" fmla="*/ 0 h 101153"/>
                <a:gd name="connsiteX2-15" fmla="*/ 659857 w 659857"/>
                <a:gd name="connsiteY2-16" fmla="*/ 101153 h 101153"/>
                <a:gd name="connsiteX3-17" fmla="*/ 4762 w 659857"/>
                <a:gd name="connsiteY3-18" fmla="*/ 101153 h 101153"/>
                <a:gd name="connsiteX4-19" fmla="*/ 0 w 659857"/>
                <a:gd name="connsiteY4-20" fmla="*/ 2381 h 101153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659857" h="101153">
                  <a:moveTo>
                    <a:pt x="0" y="2381"/>
                  </a:moveTo>
                  <a:lnTo>
                    <a:pt x="659857" y="0"/>
                  </a:lnTo>
                  <a:lnTo>
                    <a:pt x="659857" y="101153"/>
                  </a:lnTo>
                  <a:lnTo>
                    <a:pt x="4762" y="101153"/>
                  </a:lnTo>
                  <a:lnTo>
                    <a:pt x="0" y="2381"/>
                  </a:lnTo>
                  <a:close/>
                </a:path>
              </a:pathLst>
            </a:custGeom>
            <a:solidFill>
              <a:srgbClr val="141F25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82" name="矩形 33"/>
            <p:cNvSpPr/>
            <p:nvPr>
              <p:custDataLst>
                <p:tags r:id="rId22"/>
              </p:custDataLst>
            </p:nvPr>
          </p:nvSpPr>
          <p:spPr>
            <a:xfrm>
              <a:off x="9866850" y="4969459"/>
              <a:ext cx="769619" cy="130589"/>
            </a:xfrm>
            <a:custGeom>
              <a:avLst/>
              <a:gdLst>
                <a:gd name="connsiteX0" fmla="*/ 0 w 655095"/>
                <a:gd name="connsiteY0" fmla="*/ 0 h 144016"/>
                <a:gd name="connsiteX1" fmla="*/ 655095 w 655095"/>
                <a:gd name="connsiteY1" fmla="*/ 0 h 144016"/>
                <a:gd name="connsiteX2" fmla="*/ 655095 w 655095"/>
                <a:gd name="connsiteY2" fmla="*/ 144016 h 144016"/>
                <a:gd name="connsiteX3" fmla="*/ 0 w 655095"/>
                <a:gd name="connsiteY3" fmla="*/ 144016 h 144016"/>
                <a:gd name="connsiteX4" fmla="*/ 0 w 655095"/>
                <a:gd name="connsiteY4" fmla="*/ 0 h 144016"/>
                <a:gd name="connsiteX0-1" fmla="*/ 0 w 655095"/>
                <a:gd name="connsiteY0-2" fmla="*/ 0 h 144016"/>
                <a:gd name="connsiteX1-3" fmla="*/ 655095 w 655095"/>
                <a:gd name="connsiteY1-4" fmla="*/ 42863 h 144016"/>
                <a:gd name="connsiteX2-5" fmla="*/ 655095 w 655095"/>
                <a:gd name="connsiteY2-6" fmla="*/ 144016 h 144016"/>
                <a:gd name="connsiteX3-7" fmla="*/ 0 w 655095"/>
                <a:gd name="connsiteY3-8" fmla="*/ 144016 h 144016"/>
                <a:gd name="connsiteX4-9" fmla="*/ 0 w 655095"/>
                <a:gd name="connsiteY4-10" fmla="*/ 0 h 144016"/>
                <a:gd name="connsiteX0-11" fmla="*/ 0 w 659857"/>
                <a:gd name="connsiteY0-12" fmla="*/ 2381 h 101153"/>
                <a:gd name="connsiteX1-13" fmla="*/ 659857 w 659857"/>
                <a:gd name="connsiteY1-14" fmla="*/ 0 h 101153"/>
                <a:gd name="connsiteX2-15" fmla="*/ 659857 w 659857"/>
                <a:gd name="connsiteY2-16" fmla="*/ 101153 h 101153"/>
                <a:gd name="connsiteX3-17" fmla="*/ 4762 w 659857"/>
                <a:gd name="connsiteY3-18" fmla="*/ 101153 h 101153"/>
                <a:gd name="connsiteX4-19" fmla="*/ 0 w 659857"/>
                <a:gd name="connsiteY4-20" fmla="*/ 2381 h 101153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659857" h="101153">
                  <a:moveTo>
                    <a:pt x="0" y="2381"/>
                  </a:moveTo>
                  <a:lnTo>
                    <a:pt x="659857" y="0"/>
                  </a:lnTo>
                  <a:lnTo>
                    <a:pt x="659857" y="101153"/>
                  </a:lnTo>
                  <a:lnTo>
                    <a:pt x="4762" y="101153"/>
                  </a:lnTo>
                  <a:lnTo>
                    <a:pt x="0" y="2381"/>
                  </a:lnTo>
                  <a:close/>
                </a:path>
              </a:pathLst>
            </a:custGeom>
            <a:solidFill>
              <a:srgbClr val="141F25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83" name="矩形 33"/>
            <p:cNvSpPr/>
            <p:nvPr>
              <p:custDataLst>
                <p:tags r:id="rId23"/>
              </p:custDataLst>
            </p:nvPr>
          </p:nvSpPr>
          <p:spPr>
            <a:xfrm>
              <a:off x="9854864" y="5572472"/>
              <a:ext cx="769619" cy="130589"/>
            </a:xfrm>
            <a:custGeom>
              <a:avLst/>
              <a:gdLst>
                <a:gd name="connsiteX0" fmla="*/ 0 w 655095"/>
                <a:gd name="connsiteY0" fmla="*/ 0 h 144016"/>
                <a:gd name="connsiteX1" fmla="*/ 655095 w 655095"/>
                <a:gd name="connsiteY1" fmla="*/ 0 h 144016"/>
                <a:gd name="connsiteX2" fmla="*/ 655095 w 655095"/>
                <a:gd name="connsiteY2" fmla="*/ 144016 h 144016"/>
                <a:gd name="connsiteX3" fmla="*/ 0 w 655095"/>
                <a:gd name="connsiteY3" fmla="*/ 144016 h 144016"/>
                <a:gd name="connsiteX4" fmla="*/ 0 w 655095"/>
                <a:gd name="connsiteY4" fmla="*/ 0 h 144016"/>
                <a:gd name="connsiteX0-1" fmla="*/ 0 w 655095"/>
                <a:gd name="connsiteY0-2" fmla="*/ 0 h 144016"/>
                <a:gd name="connsiteX1-3" fmla="*/ 655095 w 655095"/>
                <a:gd name="connsiteY1-4" fmla="*/ 42863 h 144016"/>
                <a:gd name="connsiteX2-5" fmla="*/ 655095 w 655095"/>
                <a:gd name="connsiteY2-6" fmla="*/ 144016 h 144016"/>
                <a:gd name="connsiteX3-7" fmla="*/ 0 w 655095"/>
                <a:gd name="connsiteY3-8" fmla="*/ 144016 h 144016"/>
                <a:gd name="connsiteX4-9" fmla="*/ 0 w 655095"/>
                <a:gd name="connsiteY4-10" fmla="*/ 0 h 144016"/>
                <a:gd name="connsiteX0-11" fmla="*/ 0 w 659857"/>
                <a:gd name="connsiteY0-12" fmla="*/ 2381 h 101153"/>
                <a:gd name="connsiteX1-13" fmla="*/ 659857 w 659857"/>
                <a:gd name="connsiteY1-14" fmla="*/ 0 h 101153"/>
                <a:gd name="connsiteX2-15" fmla="*/ 659857 w 659857"/>
                <a:gd name="connsiteY2-16" fmla="*/ 101153 h 101153"/>
                <a:gd name="connsiteX3-17" fmla="*/ 4762 w 659857"/>
                <a:gd name="connsiteY3-18" fmla="*/ 101153 h 101153"/>
                <a:gd name="connsiteX4-19" fmla="*/ 0 w 659857"/>
                <a:gd name="connsiteY4-20" fmla="*/ 2381 h 101153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659857" h="101153">
                  <a:moveTo>
                    <a:pt x="0" y="2381"/>
                  </a:moveTo>
                  <a:lnTo>
                    <a:pt x="659857" y="0"/>
                  </a:lnTo>
                  <a:lnTo>
                    <a:pt x="659857" y="101153"/>
                  </a:lnTo>
                  <a:lnTo>
                    <a:pt x="4762" y="101153"/>
                  </a:lnTo>
                  <a:lnTo>
                    <a:pt x="0" y="2381"/>
                  </a:lnTo>
                  <a:close/>
                </a:path>
              </a:pathLst>
            </a:custGeom>
            <a:solidFill>
              <a:srgbClr val="141F25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84" name="矩形 33"/>
            <p:cNvSpPr/>
            <p:nvPr>
              <p:custDataLst>
                <p:tags r:id="rId24"/>
              </p:custDataLst>
            </p:nvPr>
          </p:nvSpPr>
          <p:spPr>
            <a:xfrm>
              <a:off x="9431053" y="6420478"/>
              <a:ext cx="324839" cy="63294"/>
            </a:xfrm>
            <a:custGeom>
              <a:avLst/>
              <a:gdLst>
                <a:gd name="connsiteX0" fmla="*/ 0 w 655095"/>
                <a:gd name="connsiteY0" fmla="*/ 0 h 144016"/>
                <a:gd name="connsiteX1" fmla="*/ 655095 w 655095"/>
                <a:gd name="connsiteY1" fmla="*/ 0 h 144016"/>
                <a:gd name="connsiteX2" fmla="*/ 655095 w 655095"/>
                <a:gd name="connsiteY2" fmla="*/ 144016 h 144016"/>
                <a:gd name="connsiteX3" fmla="*/ 0 w 655095"/>
                <a:gd name="connsiteY3" fmla="*/ 144016 h 144016"/>
                <a:gd name="connsiteX4" fmla="*/ 0 w 655095"/>
                <a:gd name="connsiteY4" fmla="*/ 0 h 144016"/>
                <a:gd name="connsiteX0-1" fmla="*/ 0 w 655095"/>
                <a:gd name="connsiteY0-2" fmla="*/ 0 h 144016"/>
                <a:gd name="connsiteX1-3" fmla="*/ 655095 w 655095"/>
                <a:gd name="connsiteY1-4" fmla="*/ 42863 h 144016"/>
                <a:gd name="connsiteX2-5" fmla="*/ 655095 w 655095"/>
                <a:gd name="connsiteY2-6" fmla="*/ 144016 h 144016"/>
                <a:gd name="connsiteX3-7" fmla="*/ 0 w 655095"/>
                <a:gd name="connsiteY3-8" fmla="*/ 144016 h 144016"/>
                <a:gd name="connsiteX4-9" fmla="*/ 0 w 655095"/>
                <a:gd name="connsiteY4-10" fmla="*/ 0 h 144016"/>
                <a:gd name="connsiteX0-11" fmla="*/ 0 w 659857"/>
                <a:gd name="connsiteY0-12" fmla="*/ 2381 h 101153"/>
                <a:gd name="connsiteX1-13" fmla="*/ 659857 w 659857"/>
                <a:gd name="connsiteY1-14" fmla="*/ 0 h 101153"/>
                <a:gd name="connsiteX2-15" fmla="*/ 659857 w 659857"/>
                <a:gd name="connsiteY2-16" fmla="*/ 101153 h 101153"/>
                <a:gd name="connsiteX3-17" fmla="*/ 4762 w 659857"/>
                <a:gd name="connsiteY3-18" fmla="*/ 101153 h 101153"/>
                <a:gd name="connsiteX4-19" fmla="*/ 0 w 659857"/>
                <a:gd name="connsiteY4-20" fmla="*/ 2381 h 101153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659857" h="101153">
                  <a:moveTo>
                    <a:pt x="0" y="2381"/>
                  </a:moveTo>
                  <a:lnTo>
                    <a:pt x="659857" y="0"/>
                  </a:lnTo>
                  <a:lnTo>
                    <a:pt x="659857" y="101153"/>
                  </a:lnTo>
                  <a:lnTo>
                    <a:pt x="4762" y="101153"/>
                  </a:lnTo>
                  <a:lnTo>
                    <a:pt x="0" y="2381"/>
                  </a:lnTo>
                  <a:close/>
                </a:path>
              </a:pathLst>
            </a:custGeom>
            <a:solidFill>
              <a:srgbClr val="141F25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85" name="矩形 33"/>
            <p:cNvSpPr/>
            <p:nvPr>
              <p:custDataLst>
                <p:tags r:id="rId25"/>
              </p:custDataLst>
            </p:nvPr>
          </p:nvSpPr>
          <p:spPr>
            <a:xfrm>
              <a:off x="10462063" y="6148902"/>
              <a:ext cx="324839" cy="63294"/>
            </a:xfrm>
            <a:custGeom>
              <a:avLst/>
              <a:gdLst>
                <a:gd name="connsiteX0" fmla="*/ 0 w 655095"/>
                <a:gd name="connsiteY0" fmla="*/ 0 h 144016"/>
                <a:gd name="connsiteX1" fmla="*/ 655095 w 655095"/>
                <a:gd name="connsiteY1" fmla="*/ 0 h 144016"/>
                <a:gd name="connsiteX2" fmla="*/ 655095 w 655095"/>
                <a:gd name="connsiteY2" fmla="*/ 144016 h 144016"/>
                <a:gd name="connsiteX3" fmla="*/ 0 w 655095"/>
                <a:gd name="connsiteY3" fmla="*/ 144016 h 144016"/>
                <a:gd name="connsiteX4" fmla="*/ 0 w 655095"/>
                <a:gd name="connsiteY4" fmla="*/ 0 h 144016"/>
                <a:gd name="connsiteX0-1" fmla="*/ 0 w 655095"/>
                <a:gd name="connsiteY0-2" fmla="*/ 0 h 144016"/>
                <a:gd name="connsiteX1-3" fmla="*/ 655095 w 655095"/>
                <a:gd name="connsiteY1-4" fmla="*/ 42863 h 144016"/>
                <a:gd name="connsiteX2-5" fmla="*/ 655095 w 655095"/>
                <a:gd name="connsiteY2-6" fmla="*/ 144016 h 144016"/>
                <a:gd name="connsiteX3-7" fmla="*/ 0 w 655095"/>
                <a:gd name="connsiteY3-8" fmla="*/ 144016 h 144016"/>
                <a:gd name="connsiteX4-9" fmla="*/ 0 w 655095"/>
                <a:gd name="connsiteY4-10" fmla="*/ 0 h 144016"/>
                <a:gd name="connsiteX0-11" fmla="*/ 0 w 659857"/>
                <a:gd name="connsiteY0-12" fmla="*/ 2381 h 101153"/>
                <a:gd name="connsiteX1-13" fmla="*/ 659857 w 659857"/>
                <a:gd name="connsiteY1-14" fmla="*/ 0 h 101153"/>
                <a:gd name="connsiteX2-15" fmla="*/ 659857 w 659857"/>
                <a:gd name="connsiteY2-16" fmla="*/ 101153 h 101153"/>
                <a:gd name="connsiteX3-17" fmla="*/ 4762 w 659857"/>
                <a:gd name="connsiteY3-18" fmla="*/ 101153 h 101153"/>
                <a:gd name="connsiteX4-19" fmla="*/ 0 w 659857"/>
                <a:gd name="connsiteY4-20" fmla="*/ 2381 h 101153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659857" h="101153">
                  <a:moveTo>
                    <a:pt x="0" y="2381"/>
                  </a:moveTo>
                  <a:lnTo>
                    <a:pt x="659857" y="0"/>
                  </a:lnTo>
                  <a:lnTo>
                    <a:pt x="659857" y="101153"/>
                  </a:lnTo>
                  <a:lnTo>
                    <a:pt x="4762" y="101153"/>
                  </a:lnTo>
                  <a:lnTo>
                    <a:pt x="0" y="2381"/>
                  </a:lnTo>
                  <a:close/>
                </a:path>
              </a:pathLst>
            </a:custGeom>
            <a:solidFill>
              <a:srgbClr val="141F25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86" name="矩形 33"/>
            <p:cNvSpPr/>
            <p:nvPr>
              <p:custDataLst>
                <p:tags r:id="rId26"/>
              </p:custDataLst>
            </p:nvPr>
          </p:nvSpPr>
          <p:spPr>
            <a:xfrm>
              <a:off x="9874464" y="6145091"/>
              <a:ext cx="565506" cy="55107"/>
            </a:xfrm>
            <a:custGeom>
              <a:avLst/>
              <a:gdLst>
                <a:gd name="connsiteX0" fmla="*/ 0 w 655095"/>
                <a:gd name="connsiteY0" fmla="*/ 0 h 144016"/>
                <a:gd name="connsiteX1" fmla="*/ 655095 w 655095"/>
                <a:gd name="connsiteY1" fmla="*/ 0 h 144016"/>
                <a:gd name="connsiteX2" fmla="*/ 655095 w 655095"/>
                <a:gd name="connsiteY2" fmla="*/ 144016 h 144016"/>
                <a:gd name="connsiteX3" fmla="*/ 0 w 655095"/>
                <a:gd name="connsiteY3" fmla="*/ 144016 h 144016"/>
                <a:gd name="connsiteX4" fmla="*/ 0 w 655095"/>
                <a:gd name="connsiteY4" fmla="*/ 0 h 144016"/>
                <a:gd name="connsiteX0-1" fmla="*/ 0 w 655095"/>
                <a:gd name="connsiteY0-2" fmla="*/ 0 h 144016"/>
                <a:gd name="connsiteX1-3" fmla="*/ 655095 w 655095"/>
                <a:gd name="connsiteY1-4" fmla="*/ 42863 h 144016"/>
                <a:gd name="connsiteX2-5" fmla="*/ 655095 w 655095"/>
                <a:gd name="connsiteY2-6" fmla="*/ 144016 h 144016"/>
                <a:gd name="connsiteX3-7" fmla="*/ 0 w 655095"/>
                <a:gd name="connsiteY3-8" fmla="*/ 144016 h 144016"/>
                <a:gd name="connsiteX4-9" fmla="*/ 0 w 655095"/>
                <a:gd name="connsiteY4-10" fmla="*/ 0 h 144016"/>
                <a:gd name="connsiteX0-11" fmla="*/ 0 w 659857"/>
                <a:gd name="connsiteY0-12" fmla="*/ 2381 h 101153"/>
                <a:gd name="connsiteX1-13" fmla="*/ 659857 w 659857"/>
                <a:gd name="connsiteY1-14" fmla="*/ 0 h 101153"/>
                <a:gd name="connsiteX2-15" fmla="*/ 659857 w 659857"/>
                <a:gd name="connsiteY2-16" fmla="*/ 101153 h 101153"/>
                <a:gd name="connsiteX3-17" fmla="*/ 4762 w 659857"/>
                <a:gd name="connsiteY3-18" fmla="*/ 101153 h 101153"/>
                <a:gd name="connsiteX4-19" fmla="*/ 0 w 659857"/>
                <a:gd name="connsiteY4-20" fmla="*/ 2381 h 101153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</a:cxnLst>
              <a:rect l="l" t="t" r="r" b="b"/>
              <a:pathLst>
                <a:path w="659857" h="101153">
                  <a:moveTo>
                    <a:pt x="0" y="2381"/>
                  </a:moveTo>
                  <a:lnTo>
                    <a:pt x="659857" y="0"/>
                  </a:lnTo>
                  <a:lnTo>
                    <a:pt x="659857" y="101153"/>
                  </a:lnTo>
                  <a:lnTo>
                    <a:pt x="4762" y="101153"/>
                  </a:lnTo>
                  <a:lnTo>
                    <a:pt x="0" y="2381"/>
                  </a:lnTo>
                  <a:close/>
                </a:path>
              </a:pathLst>
            </a:custGeom>
            <a:solidFill>
              <a:srgbClr val="141F25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</p:grpSp>
      <p:sp>
        <p:nvSpPr>
          <p:cNvPr id="93" name="圆角矩形 92"/>
          <p:cNvSpPr/>
          <p:nvPr>
            <p:custDataLst>
              <p:tags r:id="rId4"/>
            </p:custDataLst>
          </p:nvPr>
        </p:nvSpPr>
        <p:spPr>
          <a:xfrm>
            <a:off x="737166" y="2923552"/>
            <a:ext cx="9863832" cy="859056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0">
              <a:lnSpc>
                <a:spcPct val="125000"/>
              </a:lnSpc>
              <a:defRPr/>
            </a:pPr>
            <a:r>
              <a:rPr lang="en-US" altLang="zh-CN" sz="14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uijie META-Saudi Arabia </a:t>
            </a:r>
            <a:r>
              <a:rPr lang="en-US" altLang="zh-CN" sz="1400" kern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Engineer</a:t>
            </a:r>
            <a:r>
              <a:rPr lang="en-US" altLang="zh-CN" sz="1400" b="1" i="1" kern="0" dirty="0">
                <a:solidFill>
                  <a:prstClr val="black">
                    <a:lumMod val="75000"/>
                    <a:lumOff val="25000"/>
                  </a:prst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: Ahmed </a:t>
            </a:r>
            <a:r>
              <a:rPr lang="en-US" altLang="zh-CN" sz="1400" b="1" i="1" kern="0" dirty="0" err="1">
                <a:solidFill>
                  <a:prstClr val="black">
                    <a:lumMod val="75000"/>
                    <a:lumOff val="25000"/>
                  </a:prst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Hasan</a:t>
            </a:r>
            <a:r>
              <a:rPr lang="en-US" altLang="zh-CN" sz="1400" b="1" i="1" kern="0" dirty="0">
                <a:solidFill>
                  <a:prstClr val="black">
                    <a:lumMod val="75000"/>
                    <a:lumOff val="25000"/>
                  </a:prst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Mohamed </a:t>
            </a:r>
            <a:endParaRPr lang="en-US" altLang="zh-CN" sz="1400" b="1" i="1" kern="0" dirty="0" smtClean="0">
              <a:solidFill>
                <a:prstClr val="black">
                  <a:lumMod val="75000"/>
                  <a:lumOff val="25000"/>
                </a:prstClr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  <a:p>
            <a:pPr lvl="0">
              <a:lnSpc>
                <a:spcPct val="125000"/>
              </a:lnSpc>
              <a:defRPr/>
            </a:pPr>
            <a:r>
              <a:rPr lang="en-US" altLang="zh-CN" sz="1400" kern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Keywords: </a:t>
            </a:r>
            <a:r>
              <a:rPr lang="en-US" altLang="zh-CN" sz="1400" b="1" i="1" kern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nytime &amp; </a:t>
            </a:r>
            <a:r>
              <a:rPr lang="en-US" altLang="zh-CN" sz="1400" b="1" i="1" kern="0" dirty="0">
                <a:solidFill>
                  <a:prstClr val="black">
                    <a:lumMod val="75000"/>
                    <a:lumOff val="25000"/>
                  </a:prst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E</a:t>
            </a:r>
            <a:r>
              <a:rPr lang="en-US" altLang="zh-CN" sz="1400" b="1" i="1" kern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verywhere </a:t>
            </a:r>
            <a:r>
              <a:rPr lang="en-US" altLang="zh-CN" sz="1400" b="1" i="1" kern="0" dirty="0">
                <a:solidFill>
                  <a:prstClr val="black">
                    <a:lumMod val="75000"/>
                    <a:lumOff val="25000"/>
                  </a:prst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</a:t>
            </a:r>
            <a:r>
              <a:rPr lang="en-US" altLang="zh-CN" sz="1400" b="1" i="1" kern="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cess, Efficient,  Expert, Mastery of Complex Issues, Proactive, Gentlemanly Patience, Customer Satisfaction</a:t>
            </a:r>
            <a:endParaRPr lang="en-US" altLang="zh-CN" sz="1400" b="1" i="1" kern="0" dirty="0">
              <a:solidFill>
                <a:prstClr val="black">
                  <a:lumMod val="75000"/>
                  <a:lumOff val="25000"/>
                </a:prstClr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6836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文本占位符 2">
            <a:extLst>
              <a:ext uri="{FF2B5EF4-FFF2-40B4-BE49-F238E27FC236}">
                <a16:creationId xmlns:a16="http://schemas.microsoft.com/office/drawing/2014/main" xmlns="" id="{7E817D83-8F41-2437-C5BE-2842526EF96D}"/>
              </a:ext>
            </a:extLst>
          </p:cNvPr>
          <p:cNvSpPr txBox="1">
            <a:spLocks/>
          </p:cNvSpPr>
          <p:nvPr/>
        </p:nvSpPr>
        <p:spPr>
          <a:xfrm>
            <a:off x="358850" y="341068"/>
            <a:ext cx="9892810" cy="3762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-215981" algn="l" defTabSz="863925" rtl="0" eaLnBrk="1" latinLnBrk="0" hangingPunct="1">
              <a:lnSpc>
                <a:spcPct val="90000"/>
              </a:lnSpc>
              <a:spcBef>
                <a:spcPts val="945"/>
              </a:spcBef>
              <a:buFont typeface="Arial" panose="020B0604020202020204" pitchFamily="34" charset="0"/>
              <a:buNone/>
              <a:defRPr lang="zh-CN" altLang="en-US" sz="2645" b="1" kern="1200" dirty="0">
                <a:solidFill>
                  <a:schemeClr val="tx1"/>
                </a:solidFill>
                <a:latin typeface="Arial" panose="020B0604020202020204" pitchFamily="34" charset="0"/>
                <a:ea typeface="方正兰亭中粗黑简体" panose="02000000000000000000" charset="-122"/>
                <a:cs typeface="Arial" panose="020B0604020202020204" pitchFamily="34" charset="0"/>
              </a:defRPr>
            </a:lvl1pPr>
            <a:lvl2pPr marL="647944" indent="-215981" algn="l" defTabSz="86392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9906" indent="-215981" algn="l" defTabSz="86392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1869" indent="-215981" algn="l" defTabSz="86392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43832" indent="-215981" algn="l" defTabSz="86392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5794" indent="-215981" algn="l" defTabSz="86392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757" indent="-215981" algn="l" defTabSz="86392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39719" indent="-215981" algn="l" defTabSz="86392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1682" indent="-215981" algn="l" defTabSz="86392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800" dirty="0">
                <a:solidFill>
                  <a:srgbClr val="0055CD"/>
                </a:solidFill>
                <a:latin typeface="Noto Sans Black" panose="020B0A02040504020204" pitchFamily="34" charset="0"/>
                <a:ea typeface="Noto Sans Black" panose="020B0A02040504020204" pitchFamily="34" charset="0"/>
                <a:cs typeface="Noto Sans Black" panose="020B0A02040504020204" pitchFamily="34" charset="0"/>
                <a:sym typeface="+mn-ea"/>
              </a:rPr>
              <a:t>Customer Voices of </a:t>
            </a:r>
            <a:r>
              <a:rPr lang="en-US" altLang="zh-CN" sz="2800" dirty="0">
                <a:latin typeface="Noto Sans Black" panose="020B0A02040504020204" pitchFamily="34" charset="0"/>
                <a:ea typeface="Noto Sans Black" panose="020B0A02040504020204" pitchFamily="34" charset="0"/>
                <a:cs typeface="Noto Sans Black" panose="020B0A02040504020204" pitchFamily="34" charset="0"/>
                <a:sym typeface="+mn-ea"/>
              </a:rPr>
              <a:t>Ruijie Service Experience</a:t>
            </a:r>
            <a:endParaRPr lang="en-US" altLang="zh-CN" sz="2800" dirty="0">
              <a:latin typeface="Noto Sans Black" panose="020B0A02040504020204"/>
              <a:ea typeface="Noto Sans Black" panose="020B0A02040504020204" pitchFamily="34" charset="0"/>
              <a:cs typeface="Noto Sans Black" panose="020B0A02040504020204" pitchFamily="34" charset="0"/>
            </a:endParaRPr>
          </a:p>
        </p:txBody>
      </p:sp>
      <p:sp>
        <p:nvSpPr>
          <p:cNvPr id="23" name="对角圆角矩形 22"/>
          <p:cNvSpPr/>
          <p:nvPr>
            <p:custDataLst>
              <p:tags r:id="rId1"/>
            </p:custDataLst>
          </p:nvPr>
        </p:nvSpPr>
        <p:spPr>
          <a:xfrm>
            <a:off x="463220" y="1072218"/>
            <a:ext cx="5008197" cy="439678"/>
          </a:xfrm>
          <a:prstGeom prst="round2DiagRect">
            <a:avLst>
              <a:gd name="adj1" fmla="val 49736"/>
              <a:gd name="adj2" fmla="val 0"/>
            </a:avLst>
          </a:prstGeom>
          <a:solidFill>
            <a:srgbClr val="5F96C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fr-FR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nstance 2 : </a:t>
            </a:r>
            <a:r>
              <a:rPr kumimoji="0" lang="fr-FR" sz="1400" b="1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rofessional </a:t>
            </a:r>
            <a:r>
              <a:rPr lang="fr-FR" sz="1400" b="1" kern="0" noProof="0" dirty="0" smtClean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</a:t>
            </a:r>
            <a:r>
              <a:rPr kumimoji="0" lang="fr-FR" sz="1400" b="1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oblem-solving </a:t>
            </a:r>
            <a:r>
              <a:rPr lang="fr-FR" sz="1400" b="1" kern="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</a:t>
            </a:r>
            <a:r>
              <a:rPr kumimoji="0" lang="fr-FR" sz="1400" b="1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olutions</a:t>
            </a:r>
          </a:p>
        </p:txBody>
      </p:sp>
      <p:grpSp>
        <p:nvGrpSpPr>
          <p:cNvPr id="24" name="组合 23"/>
          <p:cNvGrpSpPr/>
          <p:nvPr/>
        </p:nvGrpSpPr>
        <p:grpSpPr>
          <a:xfrm>
            <a:off x="477458" y="3053234"/>
            <a:ext cx="5120308" cy="2660922"/>
            <a:chOff x="286842" y="2545434"/>
            <a:chExt cx="9361040" cy="2638869"/>
          </a:xfrm>
        </p:grpSpPr>
        <p:pic>
          <p:nvPicPr>
            <p:cNvPr id="25" name="图片 24"/>
            <p:cNvPicPr>
              <a:picLocks noChangeAspect="1"/>
            </p:cNvPicPr>
            <p:nvPr>
              <p:custDataLst>
                <p:tags r:id="rId10"/>
              </p:custDataLst>
            </p:nvPr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6842" y="2545434"/>
              <a:ext cx="9361040" cy="2638869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26" name="矩形 25"/>
            <p:cNvSpPr/>
            <p:nvPr>
              <p:custDataLst>
                <p:tags r:id="rId11"/>
              </p:custDataLst>
            </p:nvPr>
          </p:nvSpPr>
          <p:spPr>
            <a:xfrm>
              <a:off x="862906" y="2633687"/>
              <a:ext cx="1944216" cy="246360"/>
            </a:xfrm>
            <a:prstGeom prst="rect">
              <a:avLst/>
            </a:prstGeom>
            <a:solidFill>
              <a:srgbClr val="141F25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  <p:sp>
          <p:nvSpPr>
            <p:cNvPr id="27" name="矩形 26"/>
            <p:cNvSpPr/>
            <p:nvPr>
              <p:custDataLst>
                <p:tags r:id="rId12"/>
              </p:custDataLst>
            </p:nvPr>
          </p:nvSpPr>
          <p:spPr>
            <a:xfrm>
              <a:off x="358850" y="4718905"/>
              <a:ext cx="2347016" cy="465397"/>
            </a:xfrm>
            <a:prstGeom prst="rect">
              <a:avLst/>
            </a:prstGeom>
            <a:solidFill>
              <a:srgbClr val="141F25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</p:grpSp>
      <p:grpSp>
        <p:nvGrpSpPr>
          <p:cNvPr id="28" name="组合 27"/>
          <p:cNvGrpSpPr/>
          <p:nvPr/>
        </p:nvGrpSpPr>
        <p:grpSpPr>
          <a:xfrm>
            <a:off x="6024955" y="3049860"/>
            <a:ext cx="5067632" cy="2664295"/>
            <a:chOff x="286842" y="5272556"/>
            <a:chExt cx="9345277" cy="3656162"/>
          </a:xfrm>
        </p:grpSpPr>
        <p:pic>
          <p:nvPicPr>
            <p:cNvPr id="29" name="图片 28"/>
            <p:cNvPicPr>
              <a:picLocks noChangeAspect="1"/>
            </p:cNvPicPr>
            <p:nvPr>
              <p:custDataLst>
                <p:tags r:id="rId3"/>
              </p:custDataLst>
            </p:nvPr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6842" y="5272556"/>
              <a:ext cx="9345277" cy="3656162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30" name="矩形 29"/>
            <p:cNvSpPr/>
            <p:nvPr>
              <p:custDataLst>
                <p:tags r:id="rId4"/>
              </p:custDataLst>
            </p:nvPr>
          </p:nvSpPr>
          <p:spPr>
            <a:xfrm>
              <a:off x="706468" y="5616351"/>
              <a:ext cx="1668606" cy="144016"/>
            </a:xfrm>
            <a:prstGeom prst="rect">
              <a:avLst/>
            </a:prstGeom>
            <a:blipFill>
              <a:blip r:embed="rId16"/>
              <a:tile tx="0" ty="0" sx="100000" sy="100000" flip="none" algn="tl"/>
            </a:blip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en-US" kern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1" name="矩形 30"/>
            <p:cNvSpPr/>
            <p:nvPr>
              <p:custDataLst>
                <p:tags r:id="rId5"/>
              </p:custDataLst>
            </p:nvPr>
          </p:nvSpPr>
          <p:spPr>
            <a:xfrm>
              <a:off x="1523508" y="5760367"/>
              <a:ext cx="2291726" cy="160261"/>
            </a:xfrm>
            <a:prstGeom prst="rect">
              <a:avLst/>
            </a:prstGeom>
            <a:blipFill>
              <a:blip r:embed="rId16"/>
              <a:tile tx="0" ty="0" sx="100000" sy="100000" flip="none" algn="tl"/>
            </a:blip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en-US" kern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2" name="矩形 31"/>
            <p:cNvSpPr/>
            <p:nvPr>
              <p:custDataLst>
                <p:tags r:id="rId6"/>
              </p:custDataLst>
            </p:nvPr>
          </p:nvSpPr>
          <p:spPr>
            <a:xfrm>
              <a:off x="5399410" y="6464201"/>
              <a:ext cx="360041" cy="160262"/>
            </a:xfrm>
            <a:prstGeom prst="rect">
              <a:avLst/>
            </a:prstGeom>
            <a:blipFill>
              <a:blip r:embed="rId16"/>
              <a:tile tx="0" ty="0" sx="100000" sy="100000" flip="none" algn="tl"/>
            </a:blip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en-US" kern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3" name="矩形 32"/>
            <p:cNvSpPr/>
            <p:nvPr>
              <p:custDataLst>
                <p:tags r:id="rId7"/>
              </p:custDataLst>
            </p:nvPr>
          </p:nvSpPr>
          <p:spPr>
            <a:xfrm>
              <a:off x="5125235" y="6719832"/>
              <a:ext cx="360040" cy="160261"/>
            </a:xfrm>
            <a:prstGeom prst="rect">
              <a:avLst/>
            </a:prstGeom>
            <a:blipFill>
              <a:blip r:embed="rId16"/>
              <a:tile tx="0" ty="0" sx="100000" sy="100000" flip="none" algn="tl"/>
            </a:blip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en-US" kern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4" name="矩形 33"/>
            <p:cNvSpPr/>
            <p:nvPr>
              <p:custDataLst>
                <p:tags r:id="rId8"/>
              </p:custDataLst>
            </p:nvPr>
          </p:nvSpPr>
          <p:spPr>
            <a:xfrm>
              <a:off x="418436" y="7724341"/>
              <a:ext cx="732502" cy="216024"/>
            </a:xfrm>
            <a:prstGeom prst="rect">
              <a:avLst/>
            </a:prstGeom>
            <a:blipFill>
              <a:blip r:embed="rId16"/>
              <a:tile tx="0" ty="0" sx="100000" sy="100000" flip="none" algn="tl"/>
            </a:blip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en-US" kern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5" name="矩形 34"/>
            <p:cNvSpPr/>
            <p:nvPr>
              <p:custDataLst>
                <p:tags r:id="rId9"/>
              </p:custDataLst>
            </p:nvPr>
          </p:nvSpPr>
          <p:spPr>
            <a:xfrm>
              <a:off x="418436" y="7976369"/>
              <a:ext cx="3756838" cy="808334"/>
            </a:xfrm>
            <a:prstGeom prst="rect">
              <a:avLst/>
            </a:prstGeom>
            <a:blipFill>
              <a:blip r:embed="rId16"/>
              <a:tile tx="0" ty="0" sx="100000" sy="100000" flip="none" algn="tl"/>
            </a:blip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endParaRPr>
            </a:p>
          </p:txBody>
        </p:sp>
      </p:grpSp>
      <p:sp>
        <p:nvSpPr>
          <p:cNvPr id="36" name="圆角矩形 35"/>
          <p:cNvSpPr/>
          <p:nvPr>
            <p:custDataLst>
              <p:tags r:id="rId2"/>
            </p:custDataLst>
          </p:nvPr>
        </p:nvSpPr>
        <p:spPr>
          <a:xfrm>
            <a:off x="463220" y="1695027"/>
            <a:ext cx="10629367" cy="1180957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0">
              <a:lnSpc>
                <a:spcPct val="150000"/>
              </a:lnSpc>
              <a:defRPr/>
            </a:pPr>
            <a:r>
              <a:rPr lang="en-US" altLang="zh-CN" sz="1400" kern="0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uijie META-UAE Engineer</a:t>
            </a:r>
            <a:r>
              <a:rPr lang="en-US" altLang="zh-CN" sz="1400" b="1" kern="0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: </a:t>
            </a:r>
            <a:r>
              <a:rPr lang="en-US" altLang="zh-CN" sz="1400" b="1" i="1" kern="0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BrandonJoubert</a:t>
            </a:r>
          </a:p>
          <a:p>
            <a:pPr lvl="0">
              <a:lnSpc>
                <a:spcPct val="150000"/>
              </a:lnSpc>
              <a:defRPr/>
            </a:pPr>
            <a:r>
              <a:rPr lang="en-US" altLang="zh-CN" sz="1400" kern="0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uijie META-Pakistan Engineer: </a:t>
            </a:r>
            <a:r>
              <a:rPr lang="en-US" altLang="zh-CN" sz="1400" b="1" i="1" kern="0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bdulWahab</a:t>
            </a:r>
          </a:p>
          <a:p>
            <a:pPr lvl="0">
              <a:lnSpc>
                <a:spcPct val="150000"/>
              </a:lnSpc>
              <a:defRPr/>
            </a:pPr>
            <a:r>
              <a:rPr lang="en-US" altLang="zh-CN" sz="1400" kern="0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Keywords:  </a:t>
            </a:r>
            <a:r>
              <a:rPr lang="en-US" altLang="zh-CN" sz="1400" b="1" i="1" kern="0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rofessional, Dedicated, Reliable, Willing to assist, Unwavering Commitment, Effective in Problem-solving</a:t>
            </a:r>
          </a:p>
        </p:txBody>
      </p:sp>
    </p:spTree>
    <p:extLst>
      <p:ext uri="{BB962C8B-B14F-4D97-AF65-F5344CB8AC3E}">
        <p14:creationId xmlns:p14="http://schemas.microsoft.com/office/powerpoint/2010/main" val="4074591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占位符 2">
            <a:extLst>
              <a:ext uri="{FF2B5EF4-FFF2-40B4-BE49-F238E27FC236}">
                <a16:creationId xmlns:a16="http://schemas.microsoft.com/office/drawing/2014/main" xmlns="" id="{7E817D83-8F41-2437-C5BE-2842526EF96D}"/>
              </a:ext>
            </a:extLst>
          </p:cNvPr>
          <p:cNvSpPr txBox="1">
            <a:spLocks/>
          </p:cNvSpPr>
          <p:nvPr/>
        </p:nvSpPr>
        <p:spPr>
          <a:xfrm>
            <a:off x="358850" y="341068"/>
            <a:ext cx="9892810" cy="3762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-215981" algn="l" defTabSz="863925" rtl="0" eaLnBrk="1" latinLnBrk="0" hangingPunct="1">
              <a:lnSpc>
                <a:spcPct val="90000"/>
              </a:lnSpc>
              <a:spcBef>
                <a:spcPts val="945"/>
              </a:spcBef>
              <a:buFont typeface="Arial" panose="020B0604020202020204" pitchFamily="34" charset="0"/>
              <a:buNone/>
              <a:defRPr lang="zh-CN" altLang="en-US" sz="2645" b="1" kern="1200" dirty="0">
                <a:solidFill>
                  <a:schemeClr val="tx1"/>
                </a:solidFill>
                <a:latin typeface="Arial" panose="020B0604020202020204" pitchFamily="34" charset="0"/>
                <a:ea typeface="方正兰亭中粗黑简体" panose="02000000000000000000" charset="-122"/>
                <a:cs typeface="Arial" panose="020B0604020202020204" pitchFamily="34" charset="0"/>
              </a:defRPr>
            </a:lvl1pPr>
            <a:lvl2pPr marL="647944" indent="-215981" algn="l" defTabSz="86392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9906" indent="-215981" algn="l" defTabSz="86392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1869" indent="-215981" algn="l" defTabSz="86392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43832" indent="-215981" algn="l" defTabSz="86392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5794" indent="-215981" algn="l" defTabSz="86392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757" indent="-215981" algn="l" defTabSz="86392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39719" indent="-215981" algn="l" defTabSz="86392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1682" indent="-215981" algn="l" defTabSz="86392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800" dirty="0">
                <a:solidFill>
                  <a:srgbClr val="0055CD"/>
                </a:solidFill>
                <a:latin typeface="Noto Sans Black" panose="020B0A02040504020204" pitchFamily="34" charset="0"/>
                <a:ea typeface="Noto Sans Black" panose="020B0A02040504020204" pitchFamily="34" charset="0"/>
                <a:cs typeface="Noto Sans Black" panose="020B0A02040504020204" pitchFamily="34" charset="0"/>
                <a:sym typeface="+mn-ea"/>
              </a:rPr>
              <a:t>Customer Voices of </a:t>
            </a:r>
            <a:r>
              <a:rPr lang="en-US" altLang="zh-CN" sz="2800" dirty="0">
                <a:latin typeface="Noto Sans Black" panose="020B0A02040504020204" pitchFamily="34" charset="0"/>
                <a:ea typeface="Noto Sans Black" panose="020B0A02040504020204" pitchFamily="34" charset="0"/>
                <a:cs typeface="Noto Sans Black" panose="020B0A02040504020204" pitchFamily="34" charset="0"/>
                <a:sym typeface="+mn-ea"/>
              </a:rPr>
              <a:t>Ruijie Service Experience</a:t>
            </a:r>
            <a:endParaRPr lang="en-US" altLang="zh-CN" sz="2800" dirty="0">
              <a:latin typeface="Noto Sans Black" panose="020B0A02040504020204"/>
              <a:ea typeface="Noto Sans Black" panose="020B0A02040504020204" pitchFamily="34" charset="0"/>
              <a:cs typeface="Noto Sans Black" panose="020B0A02040504020204" pitchFamily="34" charset="0"/>
            </a:endParaRPr>
          </a:p>
        </p:txBody>
      </p:sp>
      <p:sp>
        <p:nvSpPr>
          <p:cNvPr id="13" name="右箭头 12"/>
          <p:cNvSpPr/>
          <p:nvPr/>
        </p:nvSpPr>
        <p:spPr>
          <a:xfrm>
            <a:off x="497496" y="8396272"/>
            <a:ext cx="216024" cy="216024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对角圆角矩形 19"/>
          <p:cNvSpPr/>
          <p:nvPr>
            <p:custDataLst>
              <p:tags r:id="rId1"/>
            </p:custDataLst>
          </p:nvPr>
        </p:nvSpPr>
        <p:spPr>
          <a:xfrm>
            <a:off x="703372" y="956491"/>
            <a:ext cx="4191981" cy="404347"/>
          </a:xfrm>
          <a:prstGeom prst="round2DiagRect">
            <a:avLst>
              <a:gd name="adj1" fmla="val 49736"/>
              <a:gd name="adj2" fmla="val 0"/>
            </a:avLst>
          </a:prstGeom>
          <a:solidFill>
            <a:srgbClr val="5F96C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fr-FR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nstance 3 : </a:t>
            </a:r>
            <a:r>
              <a:rPr kumimoji="0" lang="fr-FR" sz="14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Valuable Empowerment Training</a:t>
            </a:r>
            <a:endParaRPr kumimoji="0" lang="fr-FR" sz="1200" b="1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pic>
        <p:nvPicPr>
          <p:cNvPr id="21" name="图片 20"/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2761" b="13557"/>
          <a:stretch>
            <a:fillRect/>
          </a:stretch>
        </p:blipFill>
        <p:spPr>
          <a:xfrm>
            <a:off x="646882" y="2933552"/>
            <a:ext cx="5036361" cy="321669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2" name="组合 21"/>
          <p:cNvGrpSpPr/>
          <p:nvPr/>
        </p:nvGrpSpPr>
        <p:grpSpPr>
          <a:xfrm>
            <a:off x="5888511" y="2943845"/>
            <a:ext cx="4927707" cy="3206406"/>
            <a:chOff x="6073061" y="2869030"/>
            <a:chExt cx="4935932" cy="3206406"/>
          </a:xfrm>
        </p:grpSpPr>
        <p:pic>
          <p:nvPicPr>
            <p:cNvPr id="23" name="图片 22"/>
            <p:cNvPicPr>
              <a:picLocks noChangeAspect="1"/>
            </p:cNvPicPr>
            <p:nvPr>
              <p:custDataLst>
                <p:tags r:id="rId7"/>
              </p:custDataLst>
            </p:nvPr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375"/>
            <a:stretch>
              <a:fillRect/>
            </a:stretch>
          </p:blipFill>
          <p:spPr>
            <a:xfrm>
              <a:off x="6073061" y="2869030"/>
              <a:ext cx="4935932" cy="1584177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noFill/>
              <a:miter lim="800000"/>
              <a:headEnd/>
              <a:tailEnd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24" name="图片 23"/>
            <p:cNvPicPr>
              <a:picLocks noChangeAspect="1"/>
            </p:cNvPicPr>
            <p:nvPr>
              <p:custDataLst>
                <p:tags r:id="rId8"/>
              </p:custDataLst>
            </p:nvPr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640"/>
            <a:stretch>
              <a:fillRect/>
            </a:stretch>
          </p:blipFill>
          <p:spPr>
            <a:xfrm>
              <a:off x="6073062" y="4453207"/>
              <a:ext cx="4935931" cy="1622229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noFill/>
              <a:miter lim="800000"/>
              <a:headEnd/>
              <a:tailEnd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</p:grpSp>
      <p:sp>
        <p:nvSpPr>
          <p:cNvPr id="25" name="矩形 24"/>
          <p:cNvSpPr/>
          <p:nvPr>
            <p:custDataLst>
              <p:tags r:id="rId3"/>
            </p:custDataLst>
          </p:nvPr>
        </p:nvSpPr>
        <p:spPr>
          <a:xfrm>
            <a:off x="1006698" y="2943845"/>
            <a:ext cx="1367590" cy="141381"/>
          </a:xfrm>
          <a:prstGeom prst="rect">
            <a:avLst/>
          </a:prstGeom>
          <a:blipFill>
            <a:blip r:embed="rId13"/>
            <a:tile tx="0" ty="0" sx="100000" sy="100000" flip="none" algn="tl"/>
          </a:blip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sp>
        <p:nvSpPr>
          <p:cNvPr id="26" name="矩形 25"/>
          <p:cNvSpPr/>
          <p:nvPr>
            <p:custDataLst>
              <p:tags r:id="rId4"/>
            </p:custDataLst>
          </p:nvPr>
        </p:nvSpPr>
        <p:spPr>
          <a:xfrm>
            <a:off x="1146739" y="3358686"/>
            <a:ext cx="864096" cy="142456"/>
          </a:xfrm>
          <a:prstGeom prst="rect">
            <a:avLst/>
          </a:prstGeom>
          <a:blipFill>
            <a:blip r:embed="rId13"/>
            <a:tile tx="0" ty="0" sx="100000" sy="100000" flip="none" algn="tl"/>
          </a:blip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lang="en-US" kern="0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7" name="矩形 26"/>
          <p:cNvSpPr/>
          <p:nvPr>
            <p:custDataLst>
              <p:tags r:id="rId5"/>
            </p:custDataLst>
          </p:nvPr>
        </p:nvSpPr>
        <p:spPr>
          <a:xfrm>
            <a:off x="2043279" y="3358686"/>
            <a:ext cx="1983780" cy="149181"/>
          </a:xfrm>
          <a:prstGeom prst="rect">
            <a:avLst/>
          </a:prstGeom>
          <a:blipFill>
            <a:blip r:embed="rId13"/>
            <a:tile tx="0" ty="0" sx="100000" sy="100000" flip="none" algn="tl"/>
          </a:blip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endParaRPr lang="en-US" kern="0">
              <a:solidFill>
                <a:prstClr val="black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8" name="圆角矩形 27"/>
          <p:cNvSpPr/>
          <p:nvPr>
            <p:custDataLst>
              <p:tags r:id="rId6"/>
            </p:custDataLst>
          </p:nvPr>
        </p:nvSpPr>
        <p:spPr>
          <a:xfrm>
            <a:off x="646882" y="1528097"/>
            <a:ext cx="10169336" cy="1180957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0">
              <a:lnSpc>
                <a:spcPct val="125000"/>
              </a:lnSpc>
              <a:defRPr/>
            </a:pPr>
            <a:r>
              <a:rPr lang="en-US" altLang="zh-CN" sz="1400" kern="0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uijie META-UAE </a:t>
            </a:r>
            <a:r>
              <a:rPr lang="en-US" altLang="zh-CN" sz="1400" kern="0" dirty="0" smtClean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Engineer</a:t>
            </a:r>
            <a:r>
              <a:rPr lang="en-US" altLang="zh-CN" sz="1400" kern="0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: </a:t>
            </a:r>
            <a:r>
              <a:rPr lang="en-US" altLang="zh-CN" sz="1400" b="1" i="1" kern="0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eyedMohammedSadakAbrar</a:t>
            </a:r>
          </a:p>
          <a:p>
            <a:pPr lvl="0">
              <a:lnSpc>
                <a:spcPct val="125000"/>
              </a:lnSpc>
              <a:defRPr/>
            </a:pPr>
            <a:r>
              <a:rPr lang="en-US" altLang="zh-CN" sz="1400" kern="0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uijie META-Egypt Engineer: </a:t>
            </a:r>
            <a:r>
              <a:rPr lang="en-US" altLang="zh-CN" sz="1400" b="1" i="1" kern="0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hmed</a:t>
            </a:r>
          </a:p>
          <a:p>
            <a:pPr lvl="0">
              <a:lnSpc>
                <a:spcPct val="125000"/>
              </a:lnSpc>
              <a:defRPr/>
            </a:pPr>
            <a:r>
              <a:rPr lang="en-US" altLang="zh-CN" sz="1400" kern="0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uijie META-UAE Engineer: </a:t>
            </a:r>
            <a:r>
              <a:rPr lang="en-US" altLang="zh-CN" sz="1400" b="1" i="1" kern="0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BrandonJoubert</a:t>
            </a:r>
          </a:p>
          <a:p>
            <a:pPr lvl="0">
              <a:lnSpc>
                <a:spcPct val="125000"/>
              </a:lnSpc>
              <a:defRPr/>
            </a:pPr>
            <a:r>
              <a:rPr lang="en-US" altLang="zh-CN" sz="1400" b="1" kern="0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Keywords: Wonderful, valuable, professional, dedicated, growing together with customers, successful</a:t>
            </a:r>
          </a:p>
        </p:txBody>
      </p:sp>
    </p:spTree>
    <p:extLst>
      <p:ext uri="{BB962C8B-B14F-4D97-AF65-F5344CB8AC3E}">
        <p14:creationId xmlns:p14="http://schemas.microsoft.com/office/powerpoint/2010/main" val="3039213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4" name="矩形 643"/>
          <p:cNvSpPr/>
          <p:nvPr/>
        </p:nvSpPr>
        <p:spPr>
          <a:xfrm>
            <a:off x="-19001" y="489796"/>
            <a:ext cx="11529694" cy="44470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75" name="组合 274"/>
          <p:cNvGrpSpPr/>
          <p:nvPr/>
        </p:nvGrpSpPr>
        <p:grpSpPr>
          <a:xfrm>
            <a:off x="7562177" y="1781283"/>
            <a:ext cx="2392849" cy="549034"/>
            <a:chOff x="858" y="6272"/>
            <a:chExt cx="4075" cy="935"/>
          </a:xfrm>
        </p:grpSpPr>
        <p:sp>
          <p:nvSpPr>
            <p:cNvPr id="276" name="矩形 275"/>
            <p:cNvSpPr/>
            <p:nvPr/>
          </p:nvSpPr>
          <p:spPr>
            <a:xfrm>
              <a:off x="1884" y="6367"/>
              <a:ext cx="3049" cy="66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>
                <a:defRPr/>
              </a:pPr>
              <a:r>
                <a:rPr lang="en-US" altLang="zh-CN" sz="2000" b="1" dirty="0">
                  <a:solidFill>
                    <a:srgbClr val="455866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+mn-ea"/>
                </a:rPr>
                <a:t>100</a:t>
              </a:r>
              <a:r>
                <a:rPr lang="en-US" sz="2000" b="1" dirty="0">
                  <a:solidFill>
                    <a:srgbClr val="455866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+mn-ea"/>
                </a:rPr>
                <a:t>+</a:t>
              </a:r>
              <a:r>
                <a:rPr lang="en-US" sz="2400" dirty="0">
                  <a:solidFill>
                    <a:srgbClr val="E7E6E6">
                      <a:lumMod val="25000"/>
                    </a:srgb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+mn-ea"/>
                </a:rPr>
                <a:t> </a:t>
              </a:r>
            </a:p>
            <a:p>
              <a:pPr>
                <a:defRPr/>
              </a:pPr>
              <a:r>
                <a:rPr lang="en-US" altLang="zh-CN" sz="1200" dirty="0">
                  <a:solidFill>
                    <a:srgbClr val="E7E6E6">
                      <a:lumMod val="25000"/>
                    </a:srgb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+mn-ea"/>
                </a:rPr>
                <a:t> T</a:t>
              </a:r>
              <a:r>
                <a:rPr lang="en-US" altLang="zh-CN" sz="1200" dirty="0" smtClean="0">
                  <a:solidFill>
                    <a:srgbClr val="E7E6E6">
                      <a:lumMod val="25000"/>
                    </a:srgb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+mn-ea"/>
                </a:rPr>
                <a:t>ech Specialists</a:t>
              </a:r>
              <a:endParaRPr lang="en-US" altLang="zh-CN" sz="1200" dirty="0">
                <a:solidFill>
                  <a:srgbClr val="E7E6E6">
                    <a:lumMod val="25000"/>
                  </a:srgb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+mn-ea"/>
              </a:endParaRPr>
            </a:p>
          </p:txBody>
        </p:sp>
        <p:sp>
          <p:nvSpPr>
            <p:cNvPr id="277" name="椭圆 276"/>
            <p:cNvSpPr/>
            <p:nvPr/>
          </p:nvSpPr>
          <p:spPr>
            <a:xfrm>
              <a:off x="858" y="6272"/>
              <a:ext cx="935" cy="935"/>
            </a:xfrm>
            <a:prstGeom prst="ellipse">
              <a:avLst/>
            </a:prstGeom>
            <a:noFill/>
            <a:ln w="19050">
              <a:solidFill>
                <a:srgbClr val="7F7F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003">
              <a:schemeClr val="dk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  <a:latin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pic>
          <p:nvPicPr>
            <p:cNvPr id="278" name="图片 277" descr="D:\锐捷\2022\20220613\2022年公司ppt\素材\图标-03.png图标-03"/>
            <p:cNvPicPr>
              <a:picLocks noChangeAspect="1"/>
            </p:cNvPicPr>
            <p:nvPr/>
          </p:nvPicPr>
          <p:blipFill>
            <a:blip r:embed="rId4" cstate="screen"/>
            <a:srcRect/>
            <a:stretch>
              <a:fillRect/>
            </a:stretch>
          </p:blipFill>
          <p:spPr>
            <a:xfrm>
              <a:off x="981" y="6516"/>
              <a:ext cx="689" cy="448"/>
            </a:xfrm>
            <a:prstGeom prst="rect">
              <a:avLst/>
            </a:prstGeom>
          </p:spPr>
        </p:pic>
      </p:grpSp>
      <p:grpSp>
        <p:nvGrpSpPr>
          <p:cNvPr id="279" name="组合 278"/>
          <p:cNvGrpSpPr/>
          <p:nvPr/>
        </p:nvGrpSpPr>
        <p:grpSpPr>
          <a:xfrm>
            <a:off x="9477120" y="910601"/>
            <a:ext cx="1766891" cy="549034"/>
            <a:chOff x="858" y="7629"/>
            <a:chExt cx="3009" cy="935"/>
          </a:xfrm>
        </p:grpSpPr>
        <p:sp>
          <p:nvSpPr>
            <p:cNvPr id="280" name="矩形 279"/>
            <p:cNvSpPr/>
            <p:nvPr/>
          </p:nvSpPr>
          <p:spPr>
            <a:xfrm>
              <a:off x="1884" y="7829"/>
              <a:ext cx="1983" cy="53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>
                <a:defRPr/>
              </a:pPr>
              <a:r>
                <a:rPr lang="en-US" sz="2000" b="1" dirty="0">
                  <a:solidFill>
                    <a:srgbClr val="455866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+mn-ea"/>
                </a:rPr>
                <a:t>8</a:t>
              </a:r>
              <a:r>
                <a:rPr lang="en-US" sz="1400" dirty="0">
                  <a:solidFill>
                    <a:srgbClr val="E7E6E6">
                      <a:lumMod val="25000"/>
                    </a:srgb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+mn-ea"/>
                </a:rPr>
                <a:t> </a:t>
              </a:r>
              <a:r>
                <a:rPr lang="en-US" altLang="zh-CN" sz="1200" dirty="0">
                  <a:solidFill>
                    <a:srgbClr val="E7E6E6">
                      <a:lumMod val="25000"/>
                    </a:srgb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+mn-ea"/>
                </a:rPr>
                <a:t>R&amp;D </a:t>
              </a:r>
              <a:r>
                <a:rPr lang="en-US" altLang="zh-CN" sz="1200" dirty="0" smtClean="0">
                  <a:solidFill>
                    <a:srgbClr val="E7E6E6">
                      <a:lumMod val="25000"/>
                    </a:srgb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+mn-ea"/>
                </a:rPr>
                <a:t>Centers</a:t>
              </a:r>
              <a:endParaRPr lang="en-US" altLang="zh-CN" sz="1200" dirty="0">
                <a:solidFill>
                  <a:srgbClr val="E7E6E6">
                    <a:lumMod val="25000"/>
                  </a:srgb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+mn-ea"/>
              </a:endParaRPr>
            </a:p>
          </p:txBody>
        </p:sp>
        <p:sp>
          <p:nvSpPr>
            <p:cNvPr id="281" name="椭圆 280"/>
            <p:cNvSpPr/>
            <p:nvPr/>
          </p:nvSpPr>
          <p:spPr>
            <a:xfrm>
              <a:off x="858" y="7629"/>
              <a:ext cx="935" cy="935"/>
            </a:xfrm>
            <a:prstGeom prst="ellipse">
              <a:avLst/>
            </a:prstGeom>
            <a:noFill/>
            <a:ln w="19050">
              <a:solidFill>
                <a:srgbClr val="7F7F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003">
              <a:schemeClr val="dk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  <a:latin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pic>
          <p:nvPicPr>
            <p:cNvPr id="282" name="图片 281" descr="D:\锐捷\2022\20220613\2022年公司ppt\素材\图标-02.png图标-02"/>
            <p:cNvPicPr>
              <a:picLocks noChangeAspect="1"/>
            </p:cNvPicPr>
            <p:nvPr/>
          </p:nvPicPr>
          <p:blipFill>
            <a:blip r:embed="rId5" cstate="screen"/>
            <a:srcRect/>
            <a:stretch>
              <a:fillRect/>
            </a:stretch>
          </p:blipFill>
          <p:spPr>
            <a:xfrm>
              <a:off x="1052" y="7825"/>
              <a:ext cx="547" cy="543"/>
            </a:xfrm>
            <a:prstGeom prst="rect">
              <a:avLst/>
            </a:prstGeom>
          </p:spPr>
        </p:pic>
      </p:grpSp>
      <p:grpSp>
        <p:nvGrpSpPr>
          <p:cNvPr id="283" name="组合 282"/>
          <p:cNvGrpSpPr/>
          <p:nvPr/>
        </p:nvGrpSpPr>
        <p:grpSpPr>
          <a:xfrm>
            <a:off x="9476574" y="1759972"/>
            <a:ext cx="1792141" cy="549034"/>
            <a:chOff x="4655" y="5020"/>
            <a:chExt cx="3052" cy="935"/>
          </a:xfrm>
        </p:grpSpPr>
        <p:sp>
          <p:nvSpPr>
            <p:cNvPr id="284" name="矩形 283"/>
            <p:cNvSpPr/>
            <p:nvPr/>
          </p:nvSpPr>
          <p:spPr>
            <a:xfrm>
              <a:off x="5718" y="5029"/>
              <a:ext cx="1989" cy="91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>
                <a:defRPr/>
              </a:pPr>
              <a:r>
                <a:rPr lang="en-US" sz="2000" b="1" dirty="0">
                  <a:solidFill>
                    <a:srgbClr val="455866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+mn-ea"/>
                </a:rPr>
                <a:t>20000+</a:t>
              </a:r>
              <a:r>
                <a:rPr lang="en-US" sz="2400" dirty="0">
                  <a:solidFill>
                    <a:srgbClr val="E7E6E6">
                      <a:lumMod val="25000"/>
                    </a:srgb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+mn-ea"/>
                </a:rPr>
                <a:t> </a:t>
              </a:r>
              <a:r>
                <a:rPr lang="en-US" sz="1200" dirty="0">
                  <a:solidFill>
                    <a:srgbClr val="E7E6E6">
                      <a:lumMod val="25000"/>
                    </a:srgb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+mn-ea"/>
                </a:rPr>
                <a:t>P</a:t>
              </a:r>
              <a:r>
                <a:rPr lang="en-US" altLang="zh-CN" sz="1200" dirty="0" smtClean="0">
                  <a:solidFill>
                    <a:srgbClr val="E7E6E6">
                      <a:lumMod val="25000"/>
                    </a:srgb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+mn-ea"/>
                </a:rPr>
                <a:t>artners</a:t>
              </a:r>
              <a:endParaRPr lang="en-US" altLang="zh-CN" sz="1200" dirty="0">
                <a:solidFill>
                  <a:srgbClr val="E7E6E6">
                    <a:lumMod val="25000"/>
                  </a:srgb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+mn-ea"/>
              </a:endParaRPr>
            </a:p>
          </p:txBody>
        </p:sp>
        <p:sp>
          <p:nvSpPr>
            <p:cNvPr id="285" name="椭圆 284"/>
            <p:cNvSpPr/>
            <p:nvPr/>
          </p:nvSpPr>
          <p:spPr>
            <a:xfrm>
              <a:off x="4655" y="5020"/>
              <a:ext cx="935" cy="935"/>
            </a:xfrm>
            <a:prstGeom prst="ellipse">
              <a:avLst/>
            </a:prstGeom>
            <a:noFill/>
            <a:ln w="19050">
              <a:solidFill>
                <a:srgbClr val="7F7F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003">
              <a:schemeClr val="dk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  <a:latin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pic>
          <p:nvPicPr>
            <p:cNvPr id="286" name="图片 285" descr="D:\锐捷\2022\20220613\2022年公司ppt\素材\图标-05.png图标-05"/>
            <p:cNvPicPr>
              <a:picLocks noChangeAspect="1"/>
            </p:cNvPicPr>
            <p:nvPr/>
          </p:nvPicPr>
          <p:blipFill>
            <a:blip r:embed="rId6" cstate="screen"/>
            <a:srcRect/>
            <a:stretch>
              <a:fillRect/>
            </a:stretch>
          </p:blipFill>
          <p:spPr>
            <a:xfrm>
              <a:off x="4850" y="5242"/>
              <a:ext cx="545" cy="492"/>
            </a:xfrm>
            <a:prstGeom prst="rect">
              <a:avLst/>
            </a:prstGeom>
          </p:spPr>
        </p:pic>
      </p:grpSp>
      <p:grpSp>
        <p:nvGrpSpPr>
          <p:cNvPr id="287" name="组合 286"/>
          <p:cNvGrpSpPr/>
          <p:nvPr/>
        </p:nvGrpSpPr>
        <p:grpSpPr>
          <a:xfrm>
            <a:off x="7562177" y="2599989"/>
            <a:ext cx="3237833" cy="549034"/>
            <a:chOff x="858" y="5020"/>
            <a:chExt cx="5514" cy="935"/>
          </a:xfrm>
        </p:grpSpPr>
        <p:sp>
          <p:nvSpPr>
            <p:cNvPr id="288" name="矩形 287"/>
            <p:cNvSpPr/>
            <p:nvPr/>
          </p:nvSpPr>
          <p:spPr>
            <a:xfrm>
              <a:off x="1884" y="5070"/>
              <a:ext cx="4488" cy="73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>
                <a:defRPr/>
              </a:pPr>
              <a:r>
                <a:rPr lang="en-US" sz="2000" b="1" dirty="0">
                  <a:solidFill>
                    <a:srgbClr val="455866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+mn-ea"/>
                </a:rPr>
                <a:t>9</a:t>
              </a:r>
              <a:r>
                <a:rPr lang="en-US" sz="2000" b="1" dirty="0" smtClean="0">
                  <a:solidFill>
                    <a:srgbClr val="455866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+mn-ea"/>
                </a:rPr>
                <a:t>0</a:t>
              </a:r>
              <a:r>
                <a:rPr lang="en-US" sz="2000" b="1" dirty="0">
                  <a:solidFill>
                    <a:srgbClr val="455866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+mn-ea"/>
                </a:rPr>
                <a:t>+</a:t>
              </a:r>
              <a:r>
                <a:rPr lang="en-US" sz="2400" dirty="0">
                  <a:solidFill>
                    <a:srgbClr val="E7E6E6">
                      <a:lumMod val="25000"/>
                    </a:srgb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+mn-ea"/>
                </a:rPr>
                <a:t> </a:t>
              </a:r>
              <a:r>
                <a:rPr lang="en-US" altLang="zh-CN" sz="1200" dirty="0">
                  <a:solidFill>
                    <a:srgbClr val="E7E6E6">
                      <a:lumMod val="25000"/>
                    </a:srgb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+mn-ea"/>
                </a:rPr>
                <a:t>Countries and Regions </a:t>
              </a:r>
            </a:p>
            <a:p>
              <a:pPr>
                <a:defRPr/>
              </a:pPr>
              <a:r>
                <a:rPr lang="en-US" altLang="zh-CN" sz="1200" dirty="0">
                  <a:solidFill>
                    <a:srgbClr val="E7E6E6">
                      <a:lumMod val="25000"/>
                    </a:srgb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+mn-ea"/>
                </a:rPr>
                <a:t>of Business Coverage</a:t>
              </a:r>
              <a:endParaRPr lang="en-US" sz="1200" dirty="0">
                <a:solidFill>
                  <a:srgbClr val="E7E6E6">
                    <a:lumMod val="25000"/>
                  </a:srgbClr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+mn-ea"/>
              </a:endParaRPr>
            </a:p>
          </p:txBody>
        </p:sp>
        <p:sp>
          <p:nvSpPr>
            <p:cNvPr id="289" name="椭圆 288"/>
            <p:cNvSpPr/>
            <p:nvPr/>
          </p:nvSpPr>
          <p:spPr>
            <a:xfrm>
              <a:off x="858" y="5020"/>
              <a:ext cx="935" cy="935"/>
            </a:xfrm>
            <a:prstGeom prst="ellipse">
              <a:avLst/>
            </a:prstGeom>
            <a:noFill/>
            <a:ln w="19050">
              <a:solidFill>
                <a:srgbClr val="7F7F7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003">
              <a:schemeClr val="dk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kumimoji="1" lang="zh-CN" altLang="en-US">
                <a:solidFill>
                  <a:prstClr val="white"/>
                </a:solidFill>
                <a:latin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pic>
          <p:nvPicPr>
            <p:cNvPr id="290" name="图片 289" descr="D:\锐捷\2022\20220613\2022年公司ppt\素材\图标-01.png图标-01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>
            <a:blip r:embed="rId7" cstate="screen"/>
            <a:srcRect/>
            <a:stretch>
              <a:fillRect/>
            </a:stretch>
          </p:blipFill>
          <p:spPr>
            <a:xfrm>
              <a:off x="1052" y="5214"/>
              <a:ext cx="547" cy="547"/>
            </a:xfrm>
            <a:prstGeom prst="rect">
              <a:avLst/>
            </a:prstGeom>
          </p:spPr>
        </p:pic>
      </p:grpSp>
      <p:grpSp>
        <p:nvGrpSpPr>
          <p:cNvPr id="291" name="组合 290"/>
          <p:cNvGrpSpPr/>
          <p:nvPr/>
        </p:nvGrpSpPr>
        <p:grpSpPr>
          <a:xfrm>
            <a:off x="7564695" y="925334"/>
            <a:ext cx="2406355" cy="548447"/>
            <a:chOff x="761" y="2792"/>
            <a:chExt cx="4098" cy="934"/>
          </a:xfrm>
        </p:grpSpPr>
        <p:grpSp>
          <p:nvGrpSpPr>
            <p:cNvPr id="292" name="组合 291"/>
            <p:cNvGrpSpPr/>
            <p:nvPr/>
          </p:nvGrpSpPr>
          <p:grpSpPr>
            <a:xfrm>
              <a:off x="761" y="2792"/>
              <a:ext cx="4098" cy="935"/>
              <a:chOff x="858" y="5020"/>
              <a:chExt cx="4098" cy="935"/>
            </a:xfrm>
          </p:grpSpPr>
          <p:sp>
            <p:nvSpPr>
              <p:cNvPr id="297" name="矩形 296"/>
              <p:cNvSpPr/>
              <p:nvPr/>
            </p:nvSpPr>
            <p:spPr>
              <a:xfrm>
                <a:off x="1884" y="5175"/>
                <a:ext cx="3072" cy="58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/>
              <a:lstStyle/>
              <a:p>
                <a:pPr>
                  <a:defRPr/>
                </a:pPr>
                <a:r>
                  <a:rPr lang="en-US" sz="2000" b="1" dirty="0">
                    <a:solidFill>
                      <a:srgbClr val="455866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  <a:sym typeface="+mn-ea"/>
                  </a:rPr>
                  <a:t>50+</a:t>
                </a:r>
                <a:r>
                  <a:rPr lang="en-US" sz="2000" dirty="0">
                    <a:solidFill>
                      <a:srgbClr val="E7E6E6">
                        <a:lumMod val="25000"/>
                      </a:srgbClr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  <a:sym typeface="+mn-ea"/>
                  </a:rPr>
                  <a:t> </a:t>
                </a:r>
              </a:p>
              <a:p>
                <a:pPr>
                  <a:defRPr/>
                </a:pPr>
                <a:r>
                  <a:rPr lang="en-US" altLang="zh-CN" sz="1200" dirty="0">
                    <a:solidFill>
                      <a:srgbClr val="E7E6E6">
                        <a:lumMod val="25000"/>
                      </a:srgbClr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  <a:sym typeface="+mn-ea"/>
                  </a:rPr>
                  <a:t>O</a:t>
                </a:r>
                <a:r>
                  <a:rPr lang="en-US" altLang="zh-CN" sz="1200" dirty="0" smtClean="0">
                    <a:solidFill>
                      <a:srgbClr val="E7E6E6">
                        <a:lumMod val="25000"/>
                      </a:srgbClr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  <a:sym typeface="+mn-ea"/>
                  </a:rPr>
                  <a:t>ffices </a:t>
                </a:r>
                <a:r>
                  <a:rPr lang="en-US" altLang="zh-CN" sz="1200" dirty="0">
                    <a:solidFill>
                      <a:srgbClr val="E7E6E6">
                        <a:lumMod val="25000"/>
                      </a:srgbClr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  <a:sym typeface="+mn-ea"/>
                  </a:rPr>
                  <a:t>G</a:t>
                </a:r>
                <a:r>
                  <a:rPr lang="en-US" altLang="zh-CN" sz="1200" dirty="0" smtClean="0">
                    <a:solidFill>
                      <a:srgbClr val="E7E6E6">
                        <a:lumMod val="25000"/>
                      </a:srgbClr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  <a:sym typeface="+mn-ea"/>
                  </a:rPr>
                  <a:t>lobally</a:t>
                </a:r>
                <a:endParaRPr lang="en-US" altLang="zh-CN" sz="1200" dirty="0">
                  <a:solidFill>
                    <a:srgbClr val="E7E6E6">
                      <a:lumMod val="25000"/>
                    </a:srgb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+mn-ea"/>
                </a:endParaRPr>
              </a:p>
            </p:txBody>
          </p:sp>
          <p:sp>
            <p:nvSpPr>
              <p:cNvPr id="298" name="椭圆 297"/>
              <p:cNvSpPr/>
              <p:nvPr/>
            </p:nvSpPr>
            <p:spPr>
              <a:xfrm>
                <a:off x="858" y="5020"/>
                <a:ext cx="935" cy="935"/>
              </a:xfrm>
              <a:prstGeom prst="ellipse">
                <a:avLst/>
              </a:prstGeom>
              <a:noFill/>
              <a:ln w="19050">
                <a:solidFill>
                  <a:srgbClr val="7F7F7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003">
                <a:schemeClr val="dk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kumimoji="1" lang="zh-CN" altLang="en-US">
                  <a:solidFill>
                    <a:prstClr val="white"/>
                  </a:solidFill>
                  <a:latin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</p:grpSp>
        <p:grpSp>
          <p:nvGrpSpPr>
            <p:cNvPr id="293" name="组合 292"/>
            <p:cNvGrpSpPr/>
            <p:nvPr/>
          </p:nvGrpSpPr>
          <p:grpSpPr>
            <a:xfrm>
              <a:off x="950" y="2952"/>
              <a:ext cx="552" cy="552"/>
              <a:chOff x="950" y="2952"/>
              <a:chExt cx="552" cy="552"/>
            </a:xfrm>
          </p:grpSpPr>
          <p:pic>
            <p:nvPicPr>
              <p:cNvPr id="294" name="图片 293" descr="3b32313535393938333b57307403"/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xmlns="" r:embed="rId9"/>
                  </a:ext>
                </a:extLst>
              </a:blip>
              <a:stretch>
                <a:fillRect/>
              </a:stretch>
            </p:blipFill>
            <p:spPr>
              <a:xfrm>
                <a:off x="950" y="2952"/>
                <a:ext cx="552" cy="552"/>
              </a:xfrm>
              <a:prstGeom prst="rect">
                <a:avLst/>
              </a:prstGeom>
            </p:spPr>
          </p:pic>
          <p:sp>
            <p:nvSpPr>
              <p:cNvPr id="295" name="椭圆 294"/>
              <p:cNvSpPr/>
              <p:nvPr/>
            </p:nvSpPr>
            <p:spPr>
              <a:xfrm>
                <a:off x="1007" y="3159"/>
                <a:ext cx="123" cy="123"/>
              </a:xfrm>
              <a:prstGeom prst="ellipse">
                <a:avLst/>
              </a:prstGeom>
              <a:solidFill>
                <a:srgbClr val="E7003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003">
                <a:schemeClr val="dk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kumimoji="1" lang="zh-CN" altLang="en-US">
                  <a:solidFill>
                    <a:prstClr val="white"/>
                  </a:solidFill>
                  <a:latin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  <p:sp>
            <p:nvSpPr>
              <p:cNvPr id="296" name="椭圆 295"/>
              <p:cNvSpPr/>
              <p:nvPr/>
            </p:nvSpPr>
            <p:spPr>
              <a:xfrm>
                <a:off x="1309" y="3032"/>
                <a:ext cx="123" cy="123"/>
              </a:xfrm>
              <a:prstGeom prst="ellipse">
                <a:avLst/>
              </a:prstGeom>
              <a:solidFill>
                <a:srgbClr val="E7003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003">
                <a:schemeClr val="dk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kumimoji="1" lang="zh-CN" altLang="en-US">
                  <a:solidFill>
                    <a:prstClr val="white"/>
                  </a:solidFill>
                  <a:latin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</p:grpSp>
      </p:grpSp>
      <p:grpSp>
        <p:nvGrpSpPr>
          <p:cNvPr id="318" name="组合 317"/>
          <p:cNvGrpSpPr/>
          <p:nvPr/>
        </p:nvGrpSpPr>
        <p:grpSpPr>
          <a:xfrm>
            <a:off x="7562177" y="3456873"/>
            <a:ext cx="3237833" cy="549034"/>
            <a:chOff x="7562177" y="3089475"/>
            <a:chExt cx="3237833" cy="549034"/>
          </a:xfrm>
        </p:grpSpPr>
        <p:grpSp>
          <p:nvGrpSpPr>
            <p:cNvPr id="312" name="组合 311"/>
            <p:cNvGrpSpPr/>
            <p:nvPr/>
          </p:nvGrpSpPr>
          <p:grpSpPr>
            <a:xfrm>
              <a:off x="7562177" y="3089475"/>
              <a:ext cx="3237833" cy="549034"/>
              <a:chOff x="858" y="5020"/>
              <a:chExt cx="5514" cy="935"/>
            </a:xfrm>
          </p:grpSpPr>
          <p:sp>
            <p:nvSpPr>
              <p:cNvPr id="313" name="矩形 312"/>
              <p:cNvSpPr/>
              <p:nvPr/>
            </p:nvSpPr>
            <p:spPr>
              <a:xfrm>
                <a:off x="1884" y="5070"/>
                <a:ext cx="4488" cy="73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0"/>
              <a:lstStyle/>
              <a:p>
                <a:pPr>
                  <a:defRPr/>
                </a:pPr>
                <a:r>
                  <a:rPr lang="en-US" altLang="zh-CN" sz="2000" b="1" dirty="0">
                    <a:solidFill>
                      <a:srgbClr val="455866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  <a:sym typeface="+mn-ea"/>
                  </a:rPr>
                  <a:t>10000</a:t>
                </a:r>
                <a:r>
                  <a:rPr lang="en-US" sz="2000" b="1" dirty="0">
                    <a:solidFill>
                      <a:srgbClr val="455866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  <a:sym typeface="+mn-ea"/>
                  </a:rPr>
                  <a:t>+</a:t>
                </a:r>
                <a:r>
                  <a:rPr lang="en-US" sz="2400" dirty="0">
                    <a:solidFill>
                      <a:srgbClr val="E7E6E6">
                        <a:lumMod val="25000"/>
                      </a:srgbClr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  <a:sym typeface="+mn-ea"/>
                  </a:rPr>
                  <a:t> </a:t>
                </a:r>
                <a:r>
                  <a:rPr lang="en-US" sz="1200" dirty="0">
                    <a:solidFill>
                      <a:srgbClr val="E7E6E6">
                        <a:lumMod val="25000"/>
                      </a:srgbClr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  <a:sym typeface="+mn-ea"/>
                  </a:rPr>
                  <a:t>Knowledge Case</a:t>
                </a:r>
              </a:p>
            </p:txBody>
          </p:sp>
          <p:sp>
            <p:nvSpPr>
              <p:cNvPr id="314" name="椭圆 313"/>
              <p:cNvSpPr/>
              <p:nvPr/>
            </p:nvSpPr>
            <p:spPr>
              <a:xfrm>
                <a:off x="858" y="5020"/>
                <a:ext cx="935" cy="935"/>
              </a:xfrm>
              <a:prstGeom prst="ellipse">
                <a:avLst/>
              </a:prstGeom>
              <a:noFill/>
              <a:ln w="19050">
                <a:solidFill>
                  <a:srgbClr val="7F7F7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003">
                <a:schemeClr val="dk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kumimoji="1" lang="zh-CN" altLang="en-US">
                  <a:solidFill>
                    <a:prstClr val="white"/>
                  </a:solidFill>
                  <a:latin typeface="Noto Sans" panose="020B0502040504020204" pitchFamily="34" charset="0"/>
                  <a:cs typeface="Noto Sans" panose="020B0502040504020204" pitchFamily="34" charset="0"/>
                </a:endParaRPr>
              </a:p>
            </p:txBody>
          </p:sp>
        </p:grpSp>
        <p:pic>
          <p:nvPicPr>
            <p:cNvPr id="317" name="图片 316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34403" y="3230991"/>
              <a:ext cx="436776" cy="300259"/>
            </a:xfrm>
            <a:prstGeom prst="rect">
              <a:avLst/>
            </a:prstGeom>
          </p:spPr>
        </p:pic>
      </p:grpSp>
      <p:sp>
        <p:nvSpPr>
          <p:cNvPr id="365" name="矩形 364">
            <a:extLst>
              <a:ext uri="{FF2B5EF4-FFF2-40B4-BE49-F238E27FC236}">
                <a16:creationId xmlns:a16="http://schemas.microsoft.com/office/drawing/2014/main" xmlns="" id="{F08831E1-CD9A-CA9A-8C1B-069053C0D85F}"/>
              </a:ext>
            </a:extLst>
          </p:cNvPr>
          <p:cNvSpPr/>
          <p:nvPr/>
        </p:nvSpPr>
        <p:spPr>
          <a:xfrm>
            <a:off x="0" y="-2021"/>
            <a:ext cx="11518900" cy="481713"/>
          </a:xfrm>
          <a:prstGeom prst="rect">
            <a:avLst/>
          </a:prstGeom>
          <a:solidFill>
            <a:srgbClr val="4F81BD"/>
          </a:solidFill>
          <a:ln>
            <a:noFill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altLang="zh-CN" b="1" dirty="0" err="1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uijie</a:t>
            </a:r>
            <a:r>
              <a:rPr lang="en-US" altLang="zh-CN" b="1" dirty="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Global</a:t>
            </a:r>
            <a:r>
              <a:rPr lang="zh-CN" altLang="en-US" b="1" dirty="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n-US" altLang="zh-CN" b="1" dirty="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ervice Capacity Overview</a:t>
            </a:r>
            <a:endParaRPr lang="en-US" b="1" dirty="0">
              <a:solidFill>
                <a:schemeClr val="bg1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645" name="矩形 644"/>
          <p:cNvSpPr/>
          <p:nvPr/>
        </p:nvSpPr>
        <p:spPr>
          <a:xfrm>
            <a:off x="8149562" y="4825585"/>
            <a:ext cx="3361131" cy="1576844"/>
          </a:xfrm>
          <a:prstGeom prst="rect">
            <a:avLst/>
          </a:prstGeom>
          <a:solidFill>
            <a:schemeClr val="bg1"/>
          </a:solidFill>
          <a:ln>
            <a:solidFill>
              <a:srgbClr val="4F81BD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646" name="矩形 645"/>
          <p:cNvSpPr/>
          <p:nvPr/>
        </p:nvSpPr>
        <p:spPr>
          <a:xfrm>
            <a:off x="4552504" y="4824138"/>
            <a:ext cx="3597057" cy="1576844"/>
          </a:xfrm>
          <a:prstGeom prst="rect">
            <a:avLst/>
          </a:prstGeom>
          <a:solidFill>
            <a:schemeClr val="bg1"/>
          </a:solidFill>
          <a:ln>
            <a:solidFill>
              <a:srgbClr val="4F81BD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647" name="矩形 646"/>
          <p:cNvSpPr/>
          <p:nvPr/>
        </p:nvSpPr>
        <p:spPr>
          <a:xfrm>
            <a:off x="-10794" y="4782861"/>
            <a:ext cx="4698116" cy="1624345"/>
          </a:xfrm>
          <a:prstGeom prst="rect">
            <a:avLst/>
          </a:prstGeom>
          <a:solidFill>
            <a:schemeClr val="bg1"/>
          </a:solidFill>
          <a:ln>
            <a:solidFill>
              <a:srgbClr val="4F81BD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648" name="矩形 647"/>
          <p:cNvSpPr/>
          <p:nvPr/>
        </p:nvSpPr>
        <p:spPr>
          <a:xfrm>
            <a:off x="-32512" y="4366300"/>
            <a:ext cx="4809595" cy="481713"/>
          </a:xfrm>
          <a:prstGeom prst="rect">
            <a:avLst/>
          </a:prstGeom>
          <a:solidFill>
            <a:srgbClr val="4F81BD"/>
          </a:solidFill>
          <a:ln>
            <a:noFill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Global Tech Support</a:t>
            </a:r>
          </a:p>
        </p:txBody>
      </p:sp>
      <p:sp>
        <p:nvSpPr>
          <p:cNvPr id="649" name="矩形 648"/>
          <p:cNvSpPr/>
          <p:nvPr/>
        </p:nvSpPr>
        <p:spPr>
          <a:xfrm>
            <a:off x="4683373" y="4372875"/>
            <a:ext cx="3469348" cy="474916"/>
          </a:xfrm>
          <a:prstGeom prst="rect">
            <a:avLst/>
          </a:prstGeom>
          <a:solidFill>
            <a:schemeClr val="bg1"/>
          </a:solidFill>
          <a:ln>
            <a:solidFill>
              <a:srgbClr val="4F81BD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rgbClr val="4F81B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Partner Capacity Building</a:t>
            </a:r>
          </a:p>
        </p:txBody>
      </p:sp>
      <p:sp>
        <p:nvSpPr>
          <p:cNvPr id="650" name="矩形 649"/>
          <p:cNvSpPr/>
          <p:nvPr/>
        </p:nvSpPr>
        <p:spPr>
          <a:xfrm>
            <a:off x="8132440" y="4355783"/>
            <a:ext cx="3386459" cy="492007"/>
          </a:xfrm>
          <a:prstGeom prst="rect">
            <a:avLst/>
          </a:prstGeom>
          <a:solidFill>
            <a:srgbClr val="4F81BD"/>
          </a:solidFill>
          <a:ln>
            <a:noFill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Various Warranty Services</a:t>
            </a:r>
          </a:p>
        </p:txBody>
      </p:sp>
      <p:sp>
        <p:nvSpPr>
          <p:cNvPr id="651" name="文本框 650"/>
          <p:cNvSpPr txBox="1"/>
          <p:nvPr/>
        </p:nvSpPr>
        <p:spPr>
          <a:xfrm>
            <a:off x="68238" y="4812914"/>
            <a:ext cx="3647502" cy="16389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b="1" i="1" dirty="0">
                <a:solidFill>
                  <a:srgbClr val="4F81BD"/>
                </a:solidFill>
                <a:latin typeface="Noto Sans Black"/>
                <a:ea typeface="Noto Sans" panose="020B0502040504020204" pitchFamily="34" charset="0"/>
                <a:cs typeface="Noto Sans" panose="020B0502040504020204" pitchFamily="34" charset="0"/>
              </a:rPr>
              <a:t>3</a:t>
            </a:r>
            <a:r>
              <a:rPr lang="en-US" sz="11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Self-Service Platforms with 24*7 </a:t>
            </a:r>
            <a:r>
              <a:rPr lang="en-US" altLang="zh-CN" sz="11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upport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400" b="1" i="1" dirty="0">
                <a:solidFill>
                  <a:srgbClr val="4F81BD"/>
                </a:solidFill>
                <a:latin typeface="Noto Sans Black"/>
                <a:ea typeface="Noto Sans" panose="020B0502040504020204" pitchFamily="34" charset="0"/>
                <a:cs typeface="Noto Sans" panose="020B0502040504020204" pitchFamily="34" charset="0"/>
              </a:rPr>
              <a:t>24*7</a:t>
            </a:r>
            <a:r>
              <a:rPr lang="en-US" altLang="zh-CN" sz="1100" b="1" dirty="0">
                <a:solidFill>
                  <a:srgbClr val="4F81B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n-US" altLang="zh-CN" sz="11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Live Chat Service with Multi-channel Access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400" b="1" i="1" dirty="0" smtClean="0">
                <a:solidFill>
                  <a:srgbClr val="4F81BD"/>
                </a:solidFill>
                <a:latin typeface="Noto Sans Black"/>
                <a:ea typeface="Noto Sans" panose="020B0502040504020204" pitchFamily="34" charset="0"/>
                <a:cs typeface="Noto Sans" panose="020B0502040504020204" pitchFamily="34" charset="0"/>
              </a:rPr>
              <a:t>12 </a:t>
            </a:r>
            <a:r>
              <a:rPr lang="en-US" altLang="zh-CN" sz="11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nstant Communicate Hotlines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World-wide Onsite Support </a:t>
            </a:r>
            <a:r>
              <a:rPr lang="en-US" altLang="zh-CN" sz="1100" dirty="0" smtClean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ervice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400" b="1" i="1" dirty="0">
                <a:solidFill>
                  <a:srgbClr val="4F81BD"/>
                </a:solidFill>
                <a:latin typeface="Noto Sans Black"/>
                <a:ea typeface="Noto Sans" panose="020B0502040504020204" pitchFamily="34" charset="0"/>
                <a:cs typeface="Noto Sans" panose="020B0502040504020204" pitchFamily="34" charset="0"/>
              </a:rPr>
              <a:t>Multilingual</a:t>
            </a:r>
            <a:r>
              <a:rPr lang="en-US" altLang="zh-CN" sz="11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Tech Support</a:t>
            </a:r>
          </a:p>
        </p:txBody>
      </p:sp>
      <p:sp>
        <p:nvSpPr>
          <p:cNvPr id="652" name="文本框 651">
            <a:extLst>
              <a:ext uri="{FF2B5EF4-FFF2-40B4-BE49-F238E27FC236}">
                <a16:creationId xmlns:a16="http://schemas.microsoft.com/office/drawing/2014/main" xmlns="" id="{A969E5AB-9A2F-AC51-A17D-6BBFAFEDA73A}"/>
              </a:ext>
            </a:extLst>
          </p:cNvPr>
          <p:cNvSpPr txBox="1"/>
          <p:nvPr/>
        </p:nvSpPr>
        <p:spPr>
          <a:xfrm>
            <a:off x="8323028" y="4824841"/>
            <a:ext cx="2856124" cy="3663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b="1" i="1" dirty="0">
                <a:solidFill>
                  <a:srgbClr val="4F81BD"/>
                </a:solidFill>
                <a:latin typeface="Noto Sans Black"/>
                <a:ea typeface="Noto Sans" panose="020B0502040504020204" pitchFamily="34" charset="0"/>
                <a:cs typeface="Noto Sans" panose="020B0502040504020204" pitchFamily="34" charset="0"/>
              </a:rPr>
              <a:t>Free</a:t>
            </a:r>
            <a:r>
              <a:rPr lang="en-US" sz="11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Basic Warranty</a:t>
            </a:r>
          </a:p>
        </p:txBody>
      </p:sp>
      <p:sp>
        <p:nvSpPr>
          <p:cNvPr id="653" name="文本框 652">
            <a:extLst>
              <a:ext uri="{FF2B5EF4-FFF2-40B4-BE49-F238E27FC236}">
                <a16:creationId xmlns:a16="http://schemas.microsoft.com/office/drawing/2014/main" xmlns="" id="{77ECCB35-0970-5937-2C59-CA1CF47873A9}"/>
              </a:ext>
            </a:extLst>
          </p:cNvPr>
          <p:cNvSpPr txBox="1"/>
          <p:nvPr/>
        </p:nvSpPr>
        <p:spPr>
          <a:xfrm>
            <a:off x="8330664" y="5393910"/>
            <a:ext cx="30182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-Care+ Service with </a:t>
            </a:r>
            <a:r>
              <a:rPr lang="en-US" sz="1400" b="1" i="1" dirty="0">
                <a:solidFill>
                  <a:srgbClr val="4F81BD"/>
                </a:solidFill>
                <a:latin typeface="Noto Sans Black"/>
                <a:ea typeface="Noto Sans" panose="020B0502040504020204" pitchFamily="34" charset="0"/>
                <a:cs typeface="Noto Sans" panose="020B0502040504020204" pitchFamily="34" charset="0"/>
              </a:rPr>
              <a:t>24*7</a:t>
            </a:r>
            <a:r>
              <a:rPr lang="en-US" sz="11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Tech Support and </a:t>
            </a:r>
            <a:r>
              <a:rPr lang="en-US" sz="1400" b="1" i="1" dirty="0">
                <a:solidFill>
                  <a:srgbClr val="4F81BD"/>
                </a:solidFill>
                <a:latin typeface="Noto Sans Black"/>
                <a:ea typeface="Noto Sans" panose="020B0502040504020204" pitchFamily="34" charset="0"/>
                <a:cs typeface="Noto Sans" panose="020B0502040504020204" pitchFamily="34" charset="0"/>
              </a:rPr>
              <a:t>High Priority </a:t>
            </a:r>
            <a:r>
              <a:rPr lang="en-US" sz="11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MA</a:t>
            </a:r>
          </a:p>
        </p:txBody>
      </p:sp>
      <p:sp>
        <p:nvSpPr>
          <p:cNvPr id="654" name="文本框 653">
            <a:extLst>
              <a:ext uri="{FF2B5EF4-FFF2-40B4-BE49-F238E27FC236}">
                <a16:creationId xmlns:a16="http://schemas.microsoft.com/office/drawing/2014/main" xmlns="" id="{2E3867C7-7D7F-306A-309A-CAE0A13F57F6}"/>
              </a:ext>
            </a:extLst>
          </p:cNvPr>
          <p:cNvSpPr txBox="1"/>
          <p:nvPr/>
        </p:nvSpPr>
        <p:spPr>
          <a:xfrm>
            <a:off x="8321163" y="5950715"/>
            <a:ext cx="285612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Optimize Service Package</a:t>
            </a:r>
          </a:p>
        </p:txBody>
      </p:sp>
      <p:sp>
        <p:nvSpPr>
          <p:cNvPr id="655" name="文本框 654">
            <a:extLst>
              <a:ext uri="{FF2B5EF4-FFF2-40B4-BE49-F238E27FC236}">
                <a16:creationId xmlns:a16="http://schemas.microsoft.com/office/drawing/2014/main" xmlns="" id="{B0C0B83D-6426-A15C-D8E3-EFB93DD41478}"/>
              </a:ext>
            </a:extLst>
          </p:cNvPr>
          <p:cNvSpPr txBox="1"/>
          <p:nvPr/>
        </p:nvSpPr>
        <p:spPr>
          <a:xfrm>
            <a:off x="4838038" y="4963886"/>
            <a:ext cx="321896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 err="1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uijie</a:t>
            </a:r>
            <a:r>
              <a:rPr lang="en-US" sz="11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Career Certificate</a:t>
            </a:r>
          </a:p>
        </p:txBody>
      </p:sp>
      <p:sp>
        <p:nvSpPr>
          <p:cNvPr id="656" name="文本框 655">
            <a:extLst>
              <a:ext uri="{FF2B5EF4-FFF2-40B4-BE49-F238E27FC236}">
                <a16:creationId xmlns:a16="http://schemas.microsoft.com/office/drawing/2014/main" xmlns="" id="{7D772B7D-C450-FFB3-C6FA-F4C985CBA518}"/>
              </a:ext>
            </a:extLst>
          </p:cNvPr>
          <p:cNvSpPr txBox="1"/>
          <p:nvPr/>
        </p:nvSpPr>
        <p:spPr>
          <a:xfrm>
            <a:off x="4838038" y="5273099"/>
            <a:ext cx="321896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100" dirty="0" err="1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uijie</a:t>
            </a:r>
            <a:r>
              <a:rPr lang="en-US" altLang="zh-CN" sz="11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/</a:t>
            </a:r>
            <a:r>
              <a:rPr lang="en-US" altLang="zh-CN" sz="1100" dirty="0" err="1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eyee</a:t>
            </a:r>
            <a:r>
              <a:rPr lang="en-US" sz="11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Product Training</a:t>
            </a:r>
          </a:p>
        </p:txBody>
      </p:sp>
      <p:sp>
        <p:nvSpPr>
          <p:cNvPr id="657" name="文本框 656">
            <a:extLst>
              <a:ext uri="{FF2B5EF4-FFF2-40B4-BE49-F238E27FC236}">
                <a16:creationId xmlns:a16="http://schemas.microsoft.com/office/drawing/2014/main" xmlns="" id="{C1391729-07AD-F056-09ED-3D24573B899A}"/>
              </a:ext>
            </a:extLst>
          </p:cNvPr>
          <p:cNvSpPr txBox="1"/>
          <p:nvPr/>
        </p:nvSpPr>
        <p:spPr>
          <a:xfrm>
            <a:off x="4830663" y="5559709"/>
            <a:ext cx="34463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5 Common </a:t>
            </a:r>
            <a:r>
              <a:rPr lang="en-US" sz="1400" b="1" i="1" dirty="0">
                <a:solidFill>
                  <a:srgbClr val="4F81BD"/>
                </a:solidFill>
                <a:latin typeface="Noto Sans Black"/>
                <a:ea typeface="Noto Sans" panose="020B0502040504020204" pitchFamily="34" charset="0"/>
                <a:cs typeface="Noto Sans" panose="020B0502040504020204" pitchFamily="34" charset="0"/>
              </a:rPr>
              <a:t>Scenario-based Solution</a:t>
            </a:r>
          </a:p>
        </p:txBody>
      </p:sp>
      <p:sp>
        <p:nvSpPr>
          <p:cNvPr id="658" name="文本框 657">
            <a:extLst>
              <a:ext uri="{FF2B5EF4-FFF2-40B4-BE49-F238E27FC236}">
                <a16:creationId xmlns:a16="http://schemas.microsoft.com/office/drawing/2014/main" xmlns="" id="{6153BE03-2759-9470-2E4D-18FEB3F316EE}"/>
              </a:ext>
            </a:extLst>
          </p:cNvPr>
          <p:cNvSpPr txBox="1"/>
          <p:nvPr/>
        </p:nvSpPr>
        <p:spPr>
          <a:xfrm>
            <a:off x="4814814" y="5885219"/>
            <a:ext cx="33157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 err="1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ujiie</a:t>
            </a:r>
            <a:r>
              <a:rPr lang="en-US" sz="11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Official </a:t>
            </a:r>
            <a:r>
              <a:rPr lang="en-US" sz="1400" b="1" i="1" dirty="0" smtClean="0">
                <a:solidFill>
                  <a:srgbClr val="4F81BD"/>
                </a:solidFill>
                <a:latin typeface="Noto Sans Black"/>
                <a:ea typeface="Noto Sans" panose="020B0502040504020204" pitchFamily="34" charset="0"/>
                <a:cs typeface="Noto Sans" panose="020B0502040504020204" pitchFamily="34" charset="0"/>
              </a:rPr>
              <a:t>Instructor Certificate</a:t>
            </a:r>
            <a:endParaRPr lang="en-US" sz="1400" b="1" i="1" dirty="0">
              <a:solidFill>
                <a:srgbClr val="4F81BD"/>
              </a:solidFill>
              <a:latin typeface="Noto Sans Black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659" name="文本框 658">
            <a:extLst>
              <a:ext uri="{FF2B5EF4-FFF2-40B4-BE49-F238E27FC236}">
                <a16:creationId xmlns:a16="http://schemas.microsoft.com/office/drawing/2014/main" xmlns="" id="{2E3867C7-7D7F-306A-309A-CAE0A13F57F6}"/>
              </a:ext>
            </a:extLst>
          </p:cNvPr>
          <p:cNvSpPr txBox="1"/>
          <p:nvPr/>
        </p:nvSpPr>
        <p:spPr>
          <a:xfrm>
            <a:off x="8321163" y="5139551"/>
            <a:ext cx="28561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zh-CN" sz="1400" b="1" i="1" dirty="0" smtClean="0">
                <a:solidFill>
                  <a:srgbClr val="4F81BD"/>
                </a:solidFill>
                <a:latin typeface="Noto Sans Black"/>
                <a:ea typeface="Noto Sans" panose="020B0502040504020204" pitchFamily="34" charset="0"/>
                <a:cs typeface="Noto Sans" panose="020B0502040504020204" pitchFamily="34" charset="0"/>
              </a:rPr>
              <a:t>22 </a:t>
            </a:r>
            <a:r>
              <a:rPr lang="en-US" altLang="zh-CN" sz="1100" dirty="0" smtClean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lang="en-US" altLang="zh-CN" sz="11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Local Spare Parts Platform</a:t>
            </a:r>
          </a:p>
        </p:txBody>
      </p:sp>
      <p:grpSp>
        <p:nvGrpSpPr>
          <p:cNvPr id="660" name="组合 659"/>
          <p:cNvGrpSpPr/>
          <p:nvPr/>
        </p:nvGrpSpPr>
        <p:grpSpPr>
          <a:xfrm>
            <a:off x="142826" y="388994"/>
            <a:ext cx="8368053" cy="4149693"/>
            <a:chOff x="142826" y="388994"/>
            <a:chExt cx="8368053" cy="4149693"/>
          </a:xfrm>
        </p:grpSpPr>
        <p:pic>
          <p:nvPicPr>
            <p:cNvPr id="661" name="图片 660">
              <a:extLst>
                <a:ext uri="{FF2B5EF4-FFF2-40B4-BE49-F238E27FC236}">
                  <a16:creationId xmlns:a16="http://schemas.microsoft.com/office/drawing/2014/main" xmlns="" id="{2988B6FF-DFB3-9761-F3C1-F92C5B49D35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305"/>
            <a:stretch/>
          </p:blipFill>
          <p:spPr>
            <a:xfrm>
              <a:off x="142826" y="388994"/>
              <a:ext cx="8368053" cy="4149693"/>
            </a:xfrm>
            <a:prstGeom prst="rect">
              <a:avLst/>
            </a:prstGeom>
          </p:spPr>
        </p:pic>
        <p:sp>
          <p:nvSpPr>
            <p:cNvPr id="662" name="文本框 661"/>
            <p:cNvSpPr txBox="1"/>
            <p:nvPr/>
          </p:nvSpPr>
          <p:spPr>
            <a:xfrm>
              <a:off x="6620749" y="1705942"/>
              <a:ext cx="589557" cy="2234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Japan</a:t>
              </a:r>
            </a:p>
          </p:txBody>
        </p:sp>
        <p:grpSp>
          <p:nvGrpSpPr>
            <p:cNvPr id="663" name="组合 662"/>
            <p:cNvGrpSpPr/>
            <p:nvPr/>
          </p:nvGrpSpPr>
          <p:grpSpPr>
            <a:xfrm>
              <a:off x="5996592" y="2058417"/>
              <a:ext cx="187515" cy="179194"/>
              <a:chOff x="8711778" y="4176191"/>
              <a:chExt cx="1368152" cy="1368152"/>
            </a:xfrm>
          </p:grpSpPr>
          <p:sp>
            <p:nvSpPr>
              <p:cNvPr id="798" name="泪滴形 797"/>
              <p:cNvSpPr/>
              <p:nvPr/>
            </p:nvSpPr>
            <p:spPr>
              <a:xfrm rot="8100000">
                <a:off x="8711778" y="4176191"/>
                <a:ext cx="1368152" cy="1368152"/>
              </a:xfrm>
              <a:prstGeom prst="teardrop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600"/>
              </a:p>
            </p:txBody>
          </p:sp>
          <p:sp>
            <p:nvSpPr>
              <p:cNvPr id="799" name="椭圆 798"/>
              <p:cNvSpPr/>
              <p:nvPr/>
            </p:nvSpPr>
            <p:spPr>
              <a:xfrm>
                <a:off x="9027609" y="4480077"/>
                <a:ext cx="765358" cy="76535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600"/>
              </a:p>
            </p:txBody>
          </p:sp>
        </p:grpSp>
        <p:grpSp>
          <p:nvGrpSpPr>
            <p:cNvPr id="664" name="组合 663"/>
            <p:cNvGrpSpPr/>
            <p:nvPr/>
          </p:nvGrpSpPr>
          <p:grpSpPr>
            <a:xfrm>
              <a:off x="6463831" y="1707421"/>
              <a:ext cx="187515" cy="179194"/>
              <a:chOff x="8711778" y="4176191"/>
              <a:chExt cx="1368152" cy="1368152"/>
            </a:xfrm>
          </p:grpSpPr>
          <p:sp>
            <p:nvSpPr>
              <p:cNvPr id="796" name="泪滴形 795"/>
              <p:cNvSpPr/>
              <p:nvPr/>
            </p:nvSpPr>
            <p:spPr>
              <a:xfrm rot="8100000">
                <a:off x="8711778" y="4176191"/>
                <a:ext cx="1368152" cy="1368152"/>
              </a:xfrm>
              <a:prstGeom prst="teardrop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600"/>
              </a:p>
            </p:txBody>
          </p:sp>
          <p:sp>
            <p:nvSpPr>
              <p:cNvPr id="797" name="椭圆 796"/>
              <p:cNvSpPr/>
              <p:nvPr/>
            </p:nvSpPr>
            <p:spPr>
              <a:xfrm>
                <a:off x="9027609" y="4480077"/>
                <a:ext cx="765358" cy="76535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600"/>
              </a:p>
            </p:txBody>
          </p:sp>
        </p:grpSp>
        <p:grpSp>
          <p:nvGrpSpPr>
            <p:cNvPr id="665" name="组合 664"/>
            <p:cNvGrpSpPr/>
            <p:nvPr/>
          </p:nvGrpSpPr>
          <p:grpSpPr>
            <a:xfrm>
              <a:off x="5829045" y="2600686"/>
              <a:ext cx="187515" cy="179194"/>
              <a:chOff x="8711778" y="4176191"/>
              <a:chExt cx="1368152" cy="1368152"/>
            </a:xfrm>
          </p:grpSpPr>
          <p:sp>
            <p:nvSpPr>
              <p:cNvPr id="794" name="泪滴形 793"/>
              <p:cNvSpPr/>
              <p:nvPr/>
            </p:nvSpPr>
            <p:spPr>
              <a:xfrm rot="8100000">
                <a:off x="8711778" y="4176191"/>
                <a:ext cx="1368152" cy="1368152"/>
              </a:xfrm>
              <a:prstGeom prst="teardrop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600"/>
              </a:p>
            </p:txBody>
          </p:sp>
          <p:sp>
            <p:nvSpPr>
              <p:cNvPr id="795" name="椭圆 794"/>
              <p:cNvSpPr/>
              <p:nvPr/>
            </p:nvSpPr>
            <p:spPr>
              <a:xfrm>
                <a:off x="9027609" y="4480077"/>
                <a:ext cx="765358" cy="76535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600"/>
              </a:p>
            </p:txBody>
          </p:sp>
        </p:grpSp>
        <p:sp>
          <p:nvSpPr>
            <p:cNvPr id="666" name="文本框 665"/>
            <p:cNvSpPr txBox="1"/>
            <p:nvPr/>
          </p:nvSpPr>
          <p:spPr>
            <a:xfrm>
              <a:off x="5965723" y="2610390"/>
              <a:ext cx="1329950" cy="2167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Indonesia</a:t>
              </a:r>
            </a:p>
          </p:txBody>
        </p:sp>
        <p:sp>
          <p:nvSpPr>
            <p:cNvPr id="667" name="文本框 666"/>
            <p:cNvSpPr txBox="1"/>
            <p:nvPr/>
          </p:nvSpPr>
          <p:spPr>
            <a:xfrm>
              <a:off x="5021867" y="2324219"/>
              <a:ext cx="755310" cy="2167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900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Malaysia</a:t>
              </a:r>
            </a:p>
          </p:txBody>
        </p:sp>
        <p:grpSp>
          <p:nvGrpSpPr>
            <p:cNvPr id="668" name="组合 667"/>
            <p:cNvGrpSpPr/>
            <p:nvPr/>
          </p:nvGrpSpPr>
          <p:grpSpPr>
            <a:xfrm>
              <a:off x="4201070" y="1711962"/>
              <a:ext cx="187515" cy="179194"/>
              <a:chOff x="8711778" y="4176191"/>
              <a:chExt cx="1368152" cy="1368152"/>
            </a:xfrm>
          </p:grpSpPr>
          <p:sp>
            <p:nvSpPr>
              <p:cNvPr id="792" name="泪滴形 791"/>
              <p:cNvSpPr/>
              <p:nvPr/>
            </p:nvSpPr>
            <p:spPr>
              <a:xfrm rot="8100000">
                <a:off x="8711778" y="4176191"/>
                <a:ext cx="1368152" cy="1368152"/>
              </a:xfrm>
              <a:prstGeom prst="teardrop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600"/>
              </a:p>
            </p:txBody>
          </p:sp>
          <p:sp>
            <p:nvSpPr>
              <p:cNvPr id="793" name="椭圆 792"/>
              <p:cNvSpPr/>
              <p:nvPr/>
            </p:nvSpPr>
            <p:spPr>
              <a:xfrm>
                <a:off x="9027609" y="4480077"/>
                <a:ext cx="765358" cy="76535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600"/>
              </a:p>
            </p:txBody>
          </p:sp>
        </p:grpSp>
        <p:sp>
          <p:nvSpPr>
            <p:cNvPr id="669" name="文本框 668"/>
            <p:cNvSpPr txBox="1"/>
            <p:nvPr/>
          </p:nvSpPr>
          <p:spPr>
            <a:xfrm>
              <a:off x="4331615" y="1725877"/>
              <a:ext cx="785981" cy="2167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 dirty="0" err="1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Türkiye</a:t>
              </a:r>
              <a:endParaRPr lang="en-US" sz="9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grpSp>
          <p:nvGrpSpPr>
            <p:cNvPr id="670" name="组合 669"/>
            <p:cNvGrpSpPr/>
            <p:nvPr/>
          </p:nvGrpSpPr>
          <p:grpSpPr>
            <a:xfrm>
              <a:off x="1595529" y="1762420"/>
              <a:ext cx="187515" cy="179194"/>
              <a:chOff x="8711778" y="4176191"/>
              <a:chExt cx="1368152" cy="1368152"/>
            </a:xfrm>
          </p:grpSpPr>
          <p:sp>
            <p:nvSpPr>
              <p:cNvPr id="790" name="泪滴形 789"/>
              <p:cNvSpPr/>
              <p:nvPr/>
            </p:nvSpPr>
            <p:spPr>
              <a:xfrm rot="8100000">
                <a:off x="8711778" y="4176191"/>
                <a:ext cx="1368152" cy="1368152"/>
              </a:xfrm>
              <a:prstGeom prst="teardrop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600"/>
              </a:p>
            </p:txBody>
          </p:sp>
          <p:sp>
            <p:nvSpPr>
              <p:cNvPr id="791" name="椭圆 790"/>
              <p:cNvSpPr/>
              <p:nvPr/>
            </p:nvSpPr>
            <p:spPr>
              <a:xfrm>
                <a:off x="9027609" y="4480077"/>
                <a:ext cx="765358" cy="76535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600"/>
              </a:p>
            </p:txBody>
          </p:sp>
        </p:grpSp>
        <p:sp>
          <p:nvSpPr>
            <p:cNvPr id="671" name="文本框 670"/>
            <p:cNvSpPr txBox="1"/>
            <p:nvPr/>
          </p:nvSpPr>
          <p:spPr>
            <a:xfrm>
              <a:off x="1751401" y="1768241"/>
              <a:ext cx="1398170" cy="2167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the United States</a:t>
              </a:r>
            </a:p>
          </p:txBody>
        </p:sp>
        <p:sp>
          <p:nvSpPr>
            <p:cNvPr id="672" name="文本框 671"/>
            <p:cNvSpPr txBox="1"/>
            <p:nvPr/>
          </p:nvSpPr>
          <p:spPr>
            <a:xfrm>
              <a:off x="6492642" y="2371469"/>
              <a:ext cx="795721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900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Philippines</a:t>
              </a:r>
              <a:endParaRPr lang="en-US" sz="9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673" name="文本框 672"/>
            <p:cNvSpPr txBox="1"/>
            <p:nvPr/>
          </p:nvSpPr>
          <p:spPr>
            <a:xfrm>
              <a:off x="6014589" y="2221408"/>
              <a:ext cx="795721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900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Vietnam</a:t>
              </a:r>
              <a:endParaRPr lang="en-US" sz="9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674" name="文本框 673"/>
            <p:cNvSpPr txBox="1"/>
            <p:nvPr/>
          </p:nvSpPr>
          <p:spPr>
            <a:xfrm>
              <a:off x="5036899" y="2492945"/>
              <a:ext cx="755310" cy="173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altLang="zh-CN" sz="600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Singapore</a:t>
              </a:r>
              <a:endParaRPr lang="en-US" sz="6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grpSp>
          <p:nvGrpSpPr>
            <p:cNvPr id="675" name="组合 674"/>
            <p:cNvGrpSpPr/>
            <p:nvPr/>
          </p:nvGrpSpPr>
          <p:grpSpPr>
            <a:xfrm>
              <a:off x="5754743" y="2500551"/>
              <a:ext cx="136240" cy="130194"/>
              <a:chOff x="8711778" y="4176191"/>
              <a:chExt cx="1368152" cy="1368152"/>
            </a:xfrm>
          </p:grpSpPr>
          <p:sp>
            <p:nvSpPr>
              <p:cNvPr id="788" name="泪滴形 787"/>
              <p:cNvSpPr/>
              <p:nvPr/>
            </p:nvSpPr>
            <p:spPr>
              <a:xfrm rot="8100000">
                <a:off x="8711778" y="4176191"/>
                <a:ext cx="1368152" cy="1368152"/>
              </a:xfrm>
              <a:prstGeom prst="teardrop">
                <a:avLst/>
              </a:prstGeom>
              <a:solidFill>
                <a:srgbClr val="4F81BD"/>
              </a:solidFill>
              <a:ln>
                <a:noFill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600"/>
              </a:p>
            </p:txBody>
          </p:sp>
          <p:sp>
            <p:nvSpPr>
              <p:cNvPr id="789" name="椭圆 788"/>
              <p:cNvSpPr/>
              <p:nvPr/>
            </p:nvSpPr>
            <p:spPr>
              <a:xfrm>
                <a:off x="9027609" y="4480077"/>
                <a:ext cx="765358" cy="76535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600"/>
              </a:p>
            </p:txBody>
          </p:sp>
        </p:grpSp>
        <p:sp>
          <p:nvSpPr>
            <p:cNvPr id="676" name="文本框 675"/>
            <p:cNvSpPr txBox="1"/>
            <p:nvPr/>
          </p:nvSpPr>
          <p:spPr>
            <a:xfrm>
              <a:off x="5049425" y="1925153"/>
              <a:ext cx="75531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altLang="zh-CN" sz="900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Thailand</a:t>
              </a:r>
              <a:endParaRPr lang="en-US" sz="9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grpSp>
          <p:nvGrpSpPr>
            <p:cNvPr id="677" name="组合 676"/>
            <p:cNvGrpSpPr/>
            <p:nvPr/>
          </p:nvGrpSpPr>
          <p:grpSpPr>
            <a:xfrm>
              <a:off x="5187605" y="2136758"/>
              <a:ext cx="136240" cy="130194"/>
              <a:chOff x="8711778" y="4176191"/>
              <a:chExt cx="1368152" cy="1368152"/>
            </a:xfrm>
          </p:grpSpPr>
          <p:sp>
            <p:nvSpPr>
              <p:cNvPr id="786" name="泪滴形 785"/>
              <p:cNvSpPr/>
              <p:nvPr/>
            </p:nvSpPr>
            <p:spPr>
              <a:xfrm rot="8100000">
                <a:off x="8711778" y="4176191"/>
                <a:ext cx="1368152" cy="1368152"/>
              </a:xfrm>
              <a:prstGeom prst="teardrop">
                <a:avLst/>
              </a:prstGeom>
              <a:solidFill>
                <a:srgbClr val="4F81BD"/>
              </a:solidFill>
              <a:ln>
                <a:noFill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600"/>
              </a:p>
            </p:txBody>
          </p:sp>
          <p:sp>
            <p:nvSpPr>
              <p:cNvPr id="787" name="椭圆 786"/>
              <p:cNvSpPr/>
              <p:nvPr/>
            </p:nvSpPr>
            <p:spPr>
              <a:xfrm>
                <a:off x="9027609" y="4480077"/>
                <a:ext cx="765358" cy="76535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600"/>
              </a:p>
            </p:txBody>
          </p:sp>
        </p:grpSp>
        <p:sp>
          <p:nvSpPr>
            <p:cNvPr id="678" name="文本框 677"/>
            <p:cNvSpPr txBox="1"/>
            <p:nvPr/>
          </p:nvSpPr>
          <p:spPr>
            <a:xfrm>
              <a:off x="4890721" y="2131060"/>
              <a:ext cx="410949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600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India</a:t>
              </a:r>
              <a:endParaRPr lang="en-US" sz="6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679" name="文本框 678"/>
            <p:cNvSpPr txBox="1"/>
            <p:nvPr/>
          </p:nvSpPr>
          <p:spPr>
            <a:xfrm>
              <a:off x="4361699" y="1946774"/>
              <a:ext cx="833418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900" dirty="0" smtClean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UAE</a:t>
              </a:r>
              <a:endParaRPr lang="en-US" sz="9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680" name="文本框 679"/>
            <p:cNvSpPr txBox="1"/>
            <p:nvPr/>
          </p:nvSpPr>
          <p:spPr>
            <a:xfrm>
              <a:off x="3769696" y="2309006"/>
              <a:ext cx="888489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altLang="zh-CN" sz="900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Saudi Arabia</a:t>
              </a:r>
              <a:endParaRPr lang="en-US" sz="9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grpSp>
          <p:nvGrpSpPr>
            <p:cNvPr id="681" name="组合 680"/>
            <p:cNvGrpSpPr/>
            <p:nvPr/>
          </p:nvGrpSpPr>
          <p:grpSpPr>
            <a:xfrm>
              <a:off x="3860894" y="1650359"/>
              <a:ext cx="136240" cy="130194"/>
              <a:chOff x="8711778" y="4176191"/>
              <a:chExt cx="1368152" cy="1368152"/>
            </a:xfrm>
          </p:grpSpPr>
          <p:sp>
            <p:nvSpPr>
              <p:cNvPr id="784" name="泪滴形 783"/>
              <p:cNvSpPr/>
              <p:nvPr/>
            </p:nvSpPr>
            <p:spPr>
              <a:xfrm rot="8100000">
                <a:off x="8711778" y="4176191"/>
                <a:ext cx="1368152" cy="1368152"/>
              </a:xfrm>
              <a:prstGeom prst="teardrop">
                <a:avLst/>
              </a:prstGeom>
              <a:solidFill>
                <a:srgbClr val="4F81BD"/>
              </a:solidFill>
              <a:ln>
                <a:noFill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600"/>
              </a:p>
            </p:txBody>
          </p:sp>
          <p:sp>
            <p:nvSpPr>
              <p:cNvPr id="785" name="椭圆 784"/>
              <p:cNvSpPr/>
              <p:nvPr/>
            </p:nvSpPr>
            <p:spPr>
              <a:xfrm>
                <a:off x="9027609" y="4480077"/>
                <a:ext cx="765358" cy="76535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600"/>
              </a:p>
            </p:txBody>
          </p:sp>
        </p:grpSp>
        <p:sp>
          <p:nvSpPr>
            <p:cNvPr id="682" name="文本框 681"/>
            <p:cNvSpPr txBox="1"/>
            <p:nvPr/>
          </p:nvSpPr>
          <p:spPr>
            <a:xfrm>
              <a:off x="3511749" y="1647244"/>
              <a:ext cx="406204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altLang="zh-CN" sz="600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Italy</a:t>
              </a:r>
              <a:endParaRPr lang="en-US" sz="6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683" name="文本框 682"/>
            <p:cNvSpPr txBox="1"/>
            <p:nvPr/>
          </p:nvSpPr>
          <p:spPr>
            <a:xfrm>
              <a:off x="2987911" y="1650195"/>
              <a:ext cx="481538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altLang="zh-CN" sz="900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Spain</a:t>
              </a:r>
              <a:endParaRPr lang="en-US" sz="9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grpSp>
          <p:nvGrpSpPr>
            <p:cNvPr id="684" name="组合 683"/>
            <p:cNvGrpSpPr/>
            <p:nvPr/>
          </p:nvGrpSpPr>
          <p:grpSpPr>
            <a:xfrm>
              <a:off x="3553421" y="1537085"/>
              <a:ext cx="136240" cy="130194"/>
              <a:chOff x="8711778" y="4176191"/>
              <a:chExt cx="1368152" cy="1368152"/>
            </a:xfrm>
          </p:grpSpPr>
          <p:sp>
            <p:nvSpPr>
              <p:cNvPr id="782" name="泪滴形 781"/>
              <p:cNvSpPr/>
              <p:nvPr/>
            </p:nvSpPr>
            <p:spPr>
              <a:xfrm rot="8100000">
                <a:off x="8711778" y="4176191"/>
                <a:ext cx="1368152" cy="1368152"/>
              </a:xfrm>
              <a:prstGeom prst="teardrop">
                <a:avLst/>
              </a:prstGeom>
              <a:solidFill>
                <a:srgbClr val="4F81BD"/>
              </a:solidFill>
              <a:ln>
                <a:noFill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600"/>
              </a:p>
            </p:txBody>
          </p:sp>
          <p:sp>
            <p:nvSpPr>
              <p:cNvPr id="783" name="椭圆 782"/>
              <p:cNvSpPr/>
              <p:nvPr/>
            </p:nvSpPr>
            <p:spPr>
              <a:xfrm>
                <a:off x="9027609" y="4480077"/>
                <a:ext cx="765358" cy="76535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600"/>
              </a:p>
            </p:txBody>
          </p:sp>
        </p:grpSp>
        <p:sp>
          <p:nvSpPr>
            <p:cNvPr id="685" name="文本框 684"/>
            <p:cNvSpPr txBox="1"/>
            <p:nvPr/>
          </p:nvSpPr>
          <p:spPr>
            <a:xfrm>
              <a:off x="3103259" y="1511895"/>
              <a:ext cx="487589" cy="173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altLang="zh-CN" sz="600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France</a:t>
              </a:r>
              <a:endParaRPr lang="en-US" sz="6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grpSp>
          <p:nvGrpSpPr>
            <p:cNvPr id="686" name="组合 685"/>
            <p:cNvGrpSpPr/>
            <p:nvPr/>
          </p:nvGrpSpPr>
          <p:grpSpPr>
            <a:xfrm>
              <a:off x="4021720" y="1561470"/>
              <a:ext cx="136240" cy="130194"/>
              <a:chOff x="8711778" y="4176191"/>
              <a:chExt cx="1368152" cy="1368152"/>
            </a:xfrm>
          </p:grpSpPr>
          <p:sp>
            <p:nvSpPr>
              <p:cNvPr id="780" name="泪滴形 779"/>
              <p:cNvSpPr/>
              <p:nvPr/>
            </p:nvSpPr>
            <p:spPr>
              <a:xfrm rot="8100000">
                <a:off x="8711778" y="4176191"/>
                <a:ext cx="1368152" cy="1368152"/>
              </a:xfrm>
              <a:prstGeom prst="teardrop">
                <a:avLst/>
              </a:prstGeom>
              <a:solidFill>
                <a:srgbClr val="4F81BD"/>
              </a:solidFill>
              <a:ln>
                <a:noFill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600"/>
              </a:p>
            </p:txBody>
          </p:sp>
          <p:sp>
            <p:nvSpPr>
              <p:cNvPr id="781" name="椭圆 780"/>
              <p:cNvSpPr/>
              <p:nvPr/>
            </p:nvSpPr>
            <p:spPr>
              <a:xfrm>
                <a:off x="9027609" y="4480077"/>
                <a:ext cx="765358" cy="76535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600"/>
              </a:p>
            </p:txBody>
          </p:sp>
        </p:grpSp>
        <p:grpSp>
          <p:nvGrpSpPr>
            <p:cNvPr id="687" name="组合 686"/>
            <p:cNvGrpSpPr/>
            <p:nvPr/>
          </p:nvGrpSpPr>
          <p:grpSpPr>
            <a:xfrm>
              <a:off x="3965258" y="1397013"/>
              <a:ext cx="136240" cy="130194"/>
              <a:chOff x="8711778" y="4176191"/>
              <a:chExt cx="1368152" cy="1368152"/>
            </a:xfrm>
          </p:grpSpPr>
          <p:sp>
            <p:nvSpPr>
              <p:cNvPr id="778" name="泪滴形 777"/>
              <p:cNvSpPr/>
              <p:nvPr/>
            </p:nvSpPr>
            <p:spPr>
              <a:xfrm rot="8100000">
                <a:off x="8711778" y="4176191"/>
                <a:ext cx="1368152" cy="1368152"/>
              </a:xfrm>
              <a:prstGeom prst="teardrop">
                <a:avLst/>
              </a:prstGeom>
              <a:solidFill>
                <a:srgbClr val="4F81BD"/>
              </a:solidFill>
              <a:ln>
                <a:noFill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600" b="1"/>
              </a:p>
            </p:txBody>
          </p:sp>
          <p:sp>
            <p:nvSpPr>
              <p:cNvPr id="779" name="椭圆 778"/>
              <p:cNvSpPr/>
              <p:nvPr/>
            </p:nvSpPr>
            <p:spPr>
              <a:xfrm>
                <a:off x="9027609" y="4480077"/>
                <a:ext cx="765358" cy="76535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600" b="1"/>
              </a:p>
            </p:txBody>
          </p:sp>
        </p:grpSp>
        <p:grpSp>
          <p:nvGrpSpPr>
            <p:cNvPr id="688" name="组合 687"/>
            <p:cNvGrpSpPr/>
            <p:nvPr/>
          </p:nvGrpSpPr>
          <p:grpSpPr>
            <a:xfrm>
              <a:off x="3730997" y="1332928"/>
              <a:ext cx="136240" cy="130194"/>
              <a:chOff x="8711778" y="4176191"/>
              <a:chExt cx="1368152" cy="1368152"/>
            </a:xfrm>
          </p:grpSpPr>
          <p:sp>
            <p:nvSpPr>
              <p:cNvPr id="776" name="泪滴形 775"/>
              <p:cNvSpPr/>
              <p:nvPr/>
            </p:nvSpPr>
            <p:spPr>
              <a:xfrm rot="8100000">
                <a:off x="8711778" y="4176191"/>
                <a:ext cx="1368152" cy="1368152"/>
              </a:xfrm>
              <a:prstGeom prst="teardrop">
                <a:avLst/>
              </a:prstGeom>
              <a:solidFill>
                <a:srgbClr val="4F81BD"/>
              </a:solidFill>
              <a:ln>
                <a:noFill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600" b="1"/>
              </a:p>
            </p:txBody>
          </p:sp>
          <p:sp>
            <p:nvSpPr>
              <p:cNvPr id="777" name="椭圆 776"/>
              <p:cNvSpPr/>
              <p:nvPr/>
            </p:nvSpPr>
            <p:spPr>
              <a:xfrm>
                <a:off x="9027609" y="4480077"/>
                <a:ext cx="765358" cy="76535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600" b="1"/>
              </a:p>
            </p:txBody>
          </p:sp>
        </p:grpSp>
        <p:sp>
          <p:nvSpPr>
            <p:cNvPr id="689" name="文本框 688"/>
            <p:cNvSpPr txBox="1"/>
            <p:nvPr/>
          </p:nvSpPr>
          <p:spPr>
            <a:xfrm>
              <a:off x="4102117" y="1548266"/>
              <a:ext cx="621187" cy="173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600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Hungary</a:t>
              </a:r>
              <a:endParaRPr lang="en-US" sz="6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690" name="文本框 689"/>
            <p:cNvSpPr txBox="1"/>
            <p:nvPr/>
          </p:nvSpPr>
          <p:spPr>
            <a:xfrm>
              <a:off x="4045744" y="1383253"/>
              <a:ext cx="621187" cy="173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600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Poland</a:t>
              </a:r>
              <a:endParaRPr lang="en-US" sz="6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691" name="文本框 690"/>
            <p:cNvSpPr txBox="1"/>
            <p:nvPr/>
          </p:nvSpPr>
          <p:spPr>
            <a:xfrm>
              <a:off x="3462078" y="1173694"/>
              <a:ext cx="621187" cy="173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altLang="zh-CN" sz="600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Germany</a:t>
              </a:r>
              <a:endParaRPr lang="en-US" sz="6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692" name="文本框 691"/>
            <p:cNvSpPr txBox="1"/>
            <p:nvPr/>
          </p:nvSpPr>
          <p:spPr>
            <a:xfrm>
              <a:off x="2923042" y="1350993"/>
              <a:ext cx="62118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altLang="zh-CN" sz="900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Britain</a:t>
              </a:r>
              <a:endParaRPr lang="en-US" sz="9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693" name="文本框 692"/>
            <p:cNvSpPr txBox="1"/>
            <p:nvPr/>
          </p:nvSpPr>
          <p:spPr>
            <a:xfrm>
              <a:off x="1347501" y="2212833"/>
              <a:ext cx="75218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900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Mexico</a:t>
              </a:r>
              <a:endParaRPr lang="en-US" sz="9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694" name="椭圆 693">
              <a:extLst>
                <a:ext uri="{FF2B5EF4-FFF2-40B4-BE49-F238E27FC236}">
                  <a16:creationId xmlns:a16="http://schemas.microsoft.com/office/drawing/2014/main" xmlns="" id="{8EFBEDF5-AD62-28F9-5F7C-1056BFB09B8A}"/>
                </a:ext>
              </a:extLst>
            </p:cNvPr>
            <p:cNvSpPr/>
            <p:nvPr/>
          </p:nvSpPr>
          <p:spPr>
            <a:xfrm>
              <a:off x="6471769" y="1927323"/>
              <a:ext cx="45719" cy="45719"/>
            </a:xfrm>
            <a:prstGeom prst="ellipse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95" name="椭圆 694">
              <a:extLst>
                <a:ext uri="{FF2B5EF4-FFF2-40B4-BE49-F238E27FC236}">
                  <a16:creationId xmlns:a16="http://schemas.microsoft.com/office/drawing/2014/main" xmlns="" id="{1040BF90-985D-6EBE-07E7-6DDFE116A47B}"/>
                </a:ext>
              </a:extLst>
            </p:cNvPr>
            <p:cNvSpPr/>
            <p:nvPr/>
          </p:nvSpPr>
          <p:spPr>
            <a:xfrm>
              <a:off x="6278957" y="1880951"/>
              <a:ext cx="45719" cy="45719"/>
            </a:xfrm>
            <a:prstGeom prst="ellipse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96" name="椭圆 695">
              <a:extLst>
                <a:ext uri="{FF2B5EF4-FFF2-40B4-BE49-F238E27FC236}">
                  <a16:creationId xmlns:a16="http://schemas.microsoft.com/office/drawing/2014/main" xmlns="" id="{584A0EE3-8192-9AC5-6508-AD2559E3A360}"/>
                </a:ext>
              </a:extLst>
            </p:cNvPr>
            <p:cNvSpPr/>
            <p:nvPr/>
          </p:nvSpPr>
          <p:spPr>
            <a:xfrm>
              <a:off x="6179142" y="2188655"/>
              <a:ext cx="45719" cy="45719"/>
            </a:xfrm>
            <a:prstGeom prst="ellipse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97" name="椭圆 696">
              <a:extLst>
                <a:ext uri="{FF2B5EF4-FFF2-40B4-BE49-F238E27FC236}">
                  <a16:creationId xmlns:a16="http://schemas.microsoft.com/office/drawing/2014/main" xmlns="" id="{DCECE3D5-2BFE-07F3-A1B9-EB29E821C224}"/>
                </a:ext>
              </a:extLst>
            </p:cNvPr>
            <p:cNvSpPr/>
            <p:nvPr/>
          </p:nvSpPr>
          <p:spPr>
            <a:xfrm>
              <a:off x="6265689" y="2252454"/>
              <a:ext cx="45719" cy="45719"/>
            </a:xfrm>
            <a:prstGeom prst="ellipse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98" name="椭圆 697">
              <a:extLst>
                <a:ext uri="{FF2B5EF4-FFF2-40B4-BE49-F238E27FC236}">
                  <a16:creationId xmlns:a16="http://schemas.microsoft.com/office/drawing/2014/main" xmlns="" id="{F4F0BC9B-AB14-381E-5CED-2C4517F9C4F1}"/>
                </a:ext>
              </a:extLst>
            </p:cNvPr>
            <p:cNvSpPr/>
            <p:nvPr/>
          </p:nvSpPr>
          <p:spPr>
            <a:xfrm>
              <a:off x="6053272" y="2286454"/>
              <a:ext cx="45719" cy="45719"/>
            </a:xfrm>
            <a:prstGeom prst="ellipse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99" name="椭圆 698">
              <a:extLst>
                <a:ext uri="{FF2B5EF4-FFF2-40B4-BE49-F238E27FC236}">
                  <a16:creationId xmlns:a16="http://schemas.microsoft.com/office/drawing/2014/main" xmlns="" id="{068DA54D-0FB6-3631-1714-5E301719AEA1}"/>
                </a:ext>
              </a:extLst>
            </p:cNvPr>
            <p:cNvSpPr/>
            <p:nvPr/>
          </p:nvSpPr>
          <p:spPr>
            <a:xfrm>
              <a:off x="6362990" y="2607483"/>
              <a:ext cx="45719" cy="45719"/>
            </a:xfrm>
            <a:prstGeom prst="ellipse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00" name="椭圆 699">
              <a:extLst>
                <a:ext uri="{FF2B5EF4-FFF2-40B4-BE49-F238E27FC236}">
                  <a16:creationId xmlns:a16="http://schemas.microsoft.com/office/drawing/2014/main" xmlns="" id="{09C670F0-CA2B-D1E2-DF0D-1DD426ACBCFD}"/>
                </a:ext>
              </a:extLst>
            </p:cNvPr>
            <p:cNvSpPr/>
            <p:nvPr/>
          </p:nvSpPr>
          <p:spPr>
            <a:xfrm>
              <a:off x="6030979" y="2510808"/>
              <a:ext cx="45719" cy="45719"/>
            </a:xfrm>
            <a:prstGeom prst="ellipse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01" name="椭圆 700">
              <a:extLst>
                <a:ext uri="{FF2B5EF4-FFF2-40B4-BE49-F238E27FC236}">
                  <a16:creationId xmlns:a16="http://schemas.microsoft.com/office/drawing/2014/main" xmlns="" id="{340FC99B-148B-C2B5-21B4-52B5CA14203E}"/>
                </a:ext>
              </a:extLst>
            </p:cNvPr>
            <p:cNvSpPr/>
            <p:nvPr/>
          </p:nvSpPr>
          <p:spPr>
            <a:xfrm>
              <a:off x="6630698" y="3574733"/>
              <a:ext cx="45719" cy="45719"/>
            </a:xfrm>
            <a:prstGeom prst="ellipse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02" name="椭圆 701">
              <a:extLst>
                <a:ext uri="{FF2B5EF4-FFF2-40B4-BE49-F238E27FC236}">
                  <a16:creationId xmlns:a16="http://schemas.microsoft.com/office/drawing/2014/main" xmlns="" id="{C482B9DD-E30A-DF1C-7A9B-A70F5DA6F535}"/>
                </a:ext>
              </a:extLst>
            </p:cNvPr>
            <p:cNvSpPr/>
            <p:nvPr/>
          </p:nvSpPr>
          <p:spPr>
            <a:xfrm>
              <a:off x="6098991" y="3051496"/>
              <a:ext cx="45719" cy="45719"/>
            </a:xfrm>
            <a:prstGeom prst="ellipse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03" name="椭圆 702">
              <a:extLst>
                <a:ext uri="{FF2B5EF4-FFF2-40B4-BE49-F238E27FC236}">
                  <a16:creationId xmlns:a16="http://schemas.microsoft.com/office/drawing/2014/main" xmlns="" id="{03A5C5D9-A58C-A17D-1232-8AD0C5E3876A}"/>
                </a:ext>
              </a:extLst>
            </p:cNvPr>
            <p:cNvSpPr/>
            <p:nvPr/>
          </p:nvSpPr>
          <p:spPr>
            <a:xfrm>
              <a:off x="6006735" y="2762720"/>
              <a:ext cx="45719" cy="45719"/>
            </a:xfrm>
            <a:prstGeom prst="ellipse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04" name="椭圆 703">
              <a:extLst>
                <a:ext uri="{FF2B5EF4-FFF2-40B4-BE49-F238E27FC236}">
                  <a16:creationId xmlns:a16="http://schemas.microsoft.com/office/drawing/2014/main" xmlns="" id="{46BBB877-DB02-6835-1F56-4D31F72215AA}"/>
                </a:ext>
              </a:extLst>
            </p:cNvPr>
            <p:cNvSpPr/>
            <p:nvPr/>
          </p:nvSpPr>
          <p:spPr>
            <a:xfrm>
              <a:off x="5683225" y="2290541"/>
              <a:ext cx="45719" cy="45719"/>
            </a:xfrm>
            <a:prstGeom prst="ellipse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05" name="椭圆 704">
              <a:extLst>
                <a:ext uri="{FF2B5EF4-FFF2-40B4-BE49-F238E27FC236}">
                  <a16:creationId xmlns:a16="http://schemas.microsoft.com/office/drawing/2014/main" xmlns="" id="{329BB5D4-56AA-A6A1-B416-D024058F61D2}"/>
                </a:ext>
              </a:extLst>
            </p:cNvPr>
            <p:cNvSpPr/>
            <p:nvPr/>
          </p:nvSpPr>
          <p:spPr>
            <a:xfrm>
              <a:off x="5894649" y="2544724"/>
              <a:ext cx="45719" cy="45719"/>
            </a:xfrm>
            <a:prstGeom prst="ellipse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06" name="椭圆 705">
              <a:extLst>
                <a:ext uri="{FF2B5EF4-FFF2-40B4-BE49-F238E27FC236}">
                  <a16:creationId xmlns:a16="http://schemas.microsoft.com/office/drawing/2014/main" xmlns="" id="{F0AE1CEB-F041-A9C9-79D1-505B15492EE0}"/>
                </a:ext>
              </a:extLst>
            </p:cNvPr>
            <p:cNvSpPr/>
            <p:nvPr/>
          </p:nvSpPr>
          <p:spPr>
            <a:xfrm>
              <a:off x="5711046" y="2416770"/>
              <a:ext cx="45719" cy="45719"/>
            </a:xfrm>
            <a:prstGeom prst="ellipse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707" name="组合 706"/>
            <p:cNvGrpSpPr/>
            <p:nvPr/>
          </p:nvGrpSpPr>
          <p:grpSpPr>
            <a:xfrm>
              <a:off x="5745744" y="2323158"/>
              <a:ext cx="187515" cy="179194"/>
              <a:chOff x="8711778" y="4176191"/>
              <a:chExt cx="1368152" cy="1368152"/>
            </a:xfrm>
          </p:grpSpPr>
          <p:sp>
            <p:nvSpPr>
              <p:cNvPr id="774" name="泪滴形 773"/>
              <p:cNvSpPr/>
              <p:nvPr/>
            </p:nvSpPr>
            <p:spPr>
              <a:xfrm rot="8100000">
                <a:off x="8711778" y="4176191"/>
                <a:ext cx="1368152" cy="1368152"/>
              </a:xfrm>
              <a:prstGeom prst="teardrop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600"/>
              </a:p>
            </p:txBody>
          </p:sp>
          <p:sp>
            <p:nvSpPr>
              <p:cNvPr id="775" name="椭圆 774"/>
              <p:cNvSpPr/>
              <p:nvPr/>
            </p:nvSpPr>
            <p:spPr>
              <a:xfrm>
                <a:off x="9027609" y="4480077"/>
                <a:ext cx="765358" cy="76535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600"/>
              </a:p>
            </p:txBody>
          </p:sp>
        </p:grpSp>
        <p:sp>
          <p:nvSpPr>
            <p:cNvPr id="708" name="椭圆 707">
              <a:extLst>
                <a:ext uri="{FF2B5EF4-FFF2-40B4-BE49-F238E27FC236}">
                  <a16:creationId xmlns:a16="http://schemas.microsoft.com/office/drawing/2014/main" xmlns="" id="{2F91AA69-8C15-4A72-C7EC-A22CA6FD8E3E}"/>
                </a:ext>
              </a:extLst>
            </p:cNvPr>
            <p:cNvSpPr/>
            <p:nvPr/>
          </p:nvSpPr>
          <p:spPr>
            <a:xfrm>
              <a:off x="5304699" y="2290541"/>
              <a:ext cx="45719" cy="45719"/>
            </a:xfrm>
            <a:prstGeom prst="ellipse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09" name="椭圆 708">
              <a:extLst>
                <a:ext uri="{FF2B5EF4-FFF2-40B4-BE49-F238E27FC236}">
                  <a16:creationId xmlns:a16="http://schemas.microsoft.com/office/drawing/2014/main" xmlns="" id="{7693C9A3-F8A0-FDF5-6581-EC7EAE7C85AB}"/>
                </a:ext>
              </a:extLst>
            </p:cNvPr>
            <p:cNvSpPr/>
            <p:nvPr/>
          </p:nvSpPr>
          <p:spPr>
            <a:xfrm>
              <a:off x="4783004" y="2252086"/>
              <a:ext cx="45719" cy="45719"/>
            </a:xfrm>
            <a:prstGeom prst="ellipse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10" name="椭圆 709">
              <a:extLst>
                <a:ext uri="{FF2B5EF4-FFF2-40B4-BE49-F238E27FC236}">
                  <a16:creationId xmlns:a16="http://schemas.microsoft.com/office/drawing/2014/main" xmlns="" id="{42F5615C-F75B-2B09-19CC-1DC4297D8831}"/>
                </a:ext>
              </a:extLst>
            </p:cNvPr>
            <p:cNvSpPr/>
            <p:nvPr/>
          </p:nvSpPr>
          <p:spPr>
            <a:xfrm>
              <a:off x="4463306" y="2303983"/>
              <a:ext cx="45719" cy="45719"/>
            </a:xfrm>
            <a:prstGeom prst="ellipse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11" name="椭圆 710">
              <a:extLst>
                <a:ext uri="{FF2B5EF4-FFF2-40B4-BE49-F238E27FC236}">
                  <a16:creationId xmlns:a16="http://schemas.microsoft.com/office/drawing/2014/main" xmlns="" id="{ECDB4363-89FA-8B5E-1B16-0B486E941595}"/>
                </a:ext>
              </a:extLst>
            </p:cNvPr>
            <p:cNvSpPr/>
            <p:nvPr/>
          </p:nvSpPr>
          <p:spPr>
            <a:xfrm>
              <a:off x="3454815" y="1486649"/>
              <a:ext cx="45719" cy="45719"/>
            </a:xfrm>
            <a:prstGeom prst="ellipse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12" name="椭圆 711">
              <a:extLst>
                <a:ext uri="{FF2B5EF4-FFF2-40B4-BE49-F238E27FC236}">
                  <a16:creationId xmlns:a16="http://schemas.microsoft.com/office/drawing/2014/main" xmlns="" id="{B21E09E3-D0B5-34D2-278B-7E5ED66C8FE4}"/>
                </a:ext>
              </a:extLst>
            </p:cNvPr>
            <p:cNvSpPr/>
            <p:nvPr/>
          </p:nvSpPr>
          <p:spPr>
            <a:xfrm>
              <a:off x="3817800" y="1489551"/>
              <a:ext cx="45719" cy="45719"/>
            </a:xfrm>
            <a:prstGeom prst="ellipse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13" name="椭圆 712">
              <a:extLst>
                <a:ext uri="{FF2B5EF4-FFF2-40B4-BE49-F238E27FC236}">
                  <a16:creationId xmlns:a16="http://schemas.microsoft.com/office/drawing/2014/main" xmlns="" id="{8E0F65E7-5E31-01C2-FA4A-6A0DE57A709D}"/>
                </a:ext>
              </a:extLst>
            </p:cNvPr>
            <p:cNvSpPr/>
            <p:nvPr/>
          </p:nvSpPr>
          <p:spPr>
            <a:xfrm>
              <a:off x="991571" y="1850423"/>
              <a:ext cx="45719" cy="45719"/>
            </a:xfrm>
            <a:prstGeom prst="ellipse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14" name="椭圆 713">
              <a:extLst>
                <a:ext uri="{FF2B5EF4-FFF2-40B4-BE49-F238E27FC236}">
                  <a16:creationId xmlns:a16="http://schemas.microsoft.com/office/drawing/2014/main" xmlns="" id="{E6F39D92-CE78-821A-3B4B-FB1D274D1A84}"/>
                </a:ext>
              </a:extLst>
            </p:cNvPr>
            <p:cNvSpPr/>
            <p:nvPr/>
          </p:nvSpPr>
          <p:spPr>
            <a:xfrm>
              <a:off x="1736400" y="1980807"/>
              <a:ext cx="45719" cy="45719"/>
            </a:xfrm>
            <a:prstGeom prst="ellipse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15" name="椭圆 714">
              <a:extLst>
                <a:ext uri="{FF2B5EF4-FFF2-40B4-BE49-F238E27FC236}">
                  <a16:creationId xmlns:a16="http://schemas.microsoft.com/office/drawing/2014/main" xmlns="" id="{1AF37F3B-CE4C-3B5B-FD48-E293886887F3}"/>
                </a:ext>
              </a:extLst>
            </p:cNvPr>
            <p:cNvSpPr/>
            <p:nvPr/>
          </p:nvSpPr>
          <p:spPr>
            <a:xfrm>
              <a:off x="2639962" y="3091790"/>
              <a:ext cx="45719" cy="45719"/>
            </a:xfrm>
            <a:prstGeom prst="ellipse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16" name="椭圆 715">
              <a:extLst>
                <a:ext uri="{FF2B5EF4-FFF2-40B4-BE49-F238E27FC236}">
                  <a16:creationId xmlns:a16="http://schemas.microsoft.com/office/drawing/2014/main" xmlns="" id="{213959B5-C17E-89CB-E443-F67A4EAC6DB4}"/>
                </a:ext>
              </a:extLst>
            </p:cNvPr>
            <p:cNvSpPr/>
            <p:nvPr/>
          </p:nvSpPr>
          <p:spPr>
            <a:xfrm>
              <a:off x="4333477" y="1940690"/>
              <a:ext cx="45719" cy="45719"/>
            </a:xfrm>
            <a:prstGeom prst="ellipse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717" name="组合 716">
              <a:extLst>
                <a:ext uri="{FF2B5EF4-FFF2-40B4-BE49-F238E27FC236}">
                  <a16:creationId xmlns:a16="http://schemas.microsoft.com/office/drawing/2014/main" xmlns="" id="{D836CA48-05AA-E8E1-2871-661BFD78026B}"/>
                </a:ext>
              </a:extLst>
            </p:cNvPr>
            <p:cNvGrpSpPr/>
            <p:nvPr/>
          </p:nvGrpSpPr>
          <p:grpSpPr>
            <a:xfrm>
              <a:off x="242672" y="3016873"/>
              <a:ext cx="1785567" cy="900284"/>
              <a:chOff x="518503" y="2731201"/>
              <a:chExt cx="1785567" cy="900284"/>
            </a:xfrm>
          </p:grpSpPr>
          <p:grpSp>
            <p:nvGrpSpPr>
              <p:cNvPr id="764" name="组合 763"/>
              <p:cNvGrpSpPr/>
              <p:nvPr/>
            </p:nvGrpSpPr>
            <p:grpSpPr>
              <a:xfrm>
                <a:off x="518503" y="2731201"/>
                <a:ext cx="204124" cy="195067"/>
                <a:chOff x="7328912" y="1988774"/>
                <a:chExt cx="216024" cy="216024"/>
              </a:xfrm>
            </p:grpSpPr>
            <p:sp>
              <p:nvSpPr>
                <p:cNvPr id="772" name="泪滴形 771"/>
                <p:cNvSpPr/>
                <p:nvPr/>
              </p:nvSpPr>
              <p:spPr>
                <a:xfrm rot="8100000">
                  <a:off x="7328912" y="1988774"/>
                  <a:ext cx="216024" cy="216024"/>
                </a:xfrm>
                <a:prstGeom prst="teardrop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style>
                <a:lnRef idx="3">
                  <a:schemeClr val="accent2"/>
                </a:lnRef>
                <a:fillRef idx="0">
                  <a:schemeClr val="accent2"/>
                </a:fillRef>
                <a:effectRef idx="2">
                  <a:schemeClr val="accent2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73" name="椭圆 772"/>
                <p:cNvSpPr/>
                <p:nvPr/>
              </p:nvSpPr>
              <p:spPr>
                <a:xfrm>
                  <a:off x="7378780" y="2036756"/>
                  <a:ext cx="120846" cy="120846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3">
                  <a:schemeClr val="accent2"/>
                </a:lnRef>
                <a:fillRef idx="0">
                  <a:schemeClr val="accent2"/>
                </a:fillRef>
                <a:effectRef idx="2">
                  <a:schemeClr val="accent2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765" name="组合 764"/>
              <p:cNvGrpSpPr/>
              <p:nvPr/>
            </p:nvGrpSpPr>
            <p:grpSpPr>
              <a:xfrm>
                <a:off x="518503" y="3107057"/>
                <a:ext cx="204124" cy="195067"/>
                <a:chOff x="7328912" y="1988774"/>
                <a:chExt cx="216024" cy="216024"/>
              </a:xfrm>
            </p:grpSpPr>
            <p:sp>
              <p:nvSpPr>
                <p:cNvPr id="770" name="泪滴形 769"/>
                <p:cNvSpPr/>
                <p:nvPr/>
              </p:nvSpPr>
              <p:spPr>
                <a:xfrm rot="8100000">
                  <a:off x="7328912" y="1988774"/>
                  <a:ext cx="216024" cy="216024"/>
                </a:xfrm>
                <a:prstGeom prst="teardrop">
                  <a:avLst/>
                </a:prstGeom>
                <a:solidFill>
                  <a:srgbClr val="4F81BD"/>
                </a:solidFill>
                <a:ln>
                  <a:noFill/>
                </a:ln>
              </p:spPr>
              <p:style>
                <a:lnRef idx="3">
                  <a:schemeClr val="accent2"/>
                </a:lnRef>
                <a:fillRef idx="0">
                  <a:schemeClr val="accent2"/>
                </a:fillRef>
                <a:effectRef idx="2">
                  <a:schemeClr val="accent2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71" name="椭圆 770"/>
                <p:cNvSpPr/>
                <p:nvPr/>
              </p:nvSpPr>
              <p:spPr>
                <a:xfrm>
                  <a:off x="7378780" y="2036756"/>
                  <a:ext cx="120846" cy="120846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3">
                  <a:schemeClr val="accent2"/>
                </a:lnRef>
                <a:fillRef idx="0">
                  <a:schemeClr val="accent2"/>
                </a:fillRef>
                <a:effectRef idx="2">
                  <a:schemeClr val="accent2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766" name="文本框 765"/>
              <p:cNvSpPr txBox="1"/>
              <p:nvPr/>
            </p:nvSpPr>
            <p:spPr>
              <a:xfrm>
                <a:off x="771791" y="2785131"/>
                <a:ext cx="1408183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defRPr/>
                </a:pPr>
                <a:r>
                  <a:rPr kumimoji="1" lang="en-US" altLang="zh-CN" sz="1000" b="1" dirty="0">
                    <a:solidFill>
                      <a:srgbClr val="C00000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</a:rPr>
                  <a:t>Subsidiary</a:t>
                </a:r>
                <a:r>
                  <a:rPr kumimoji="1" lang="en-US" altLang="zh-CN" sz="1000" b="1" dirty="0">
                    <a:solidFill>
                      <a:srgbClr val="C00000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  <a:sym typeface="+mn-ea"/>
                  </a:rPr>
                  <a:t> </a:t>
                </a:r>
                <a:r>
                  <a:rPr kumimoji="1" lang="en-US" altLang="zh-CN" sz="1000" b="1" dirty="0" smtClean="0">
                    <a:solidFill>
                      <a:srgbClr val="C00000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  <a:sym typeface="+mn-ea"/>
                  </a:rPr>
                  <a:t>Company</a:t>
                </a:r>
                <a:endParaRPr kumimoji="1" lang="en-US" altLang="zh-CN" sz="1000" b="1" dirty="0">
                  <a:solidFill>
                    <a:srgbClr val="C00000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+mn-ea"/>
                </a:endParaRPr>
              </a:p>
            </p:txBody>
          </p:sp>
          <p:sp>
            <p:nvSpPr>
              <p:cNvPr id="767" name="文本框 766"/>
              <p:cNvSpPr txBox="1"/>
              <p:nvPr/>
            </p:nvSpPr>
            <p:spPr>
              <a:xfrm>
                <a:off x="764904" y="3135110"/>
                <a:ext cx="1408183" cy="24622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defRPr/>
                </a:pPr>
                <a:r>
                  <a:rPr kumimoji="1" lang="en-US" altLang="zh-CN" sz="1000" b="1" dirty="0">
                    <a:solidFill>
                      <a:srgbClr val="4F81BD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  <a:sym typeface="+mn-ea"/>
                  </a:rPr>
                  <a:t>Business Coverage</a:t>
                </a:r>
              </a:p>
              <a:p>
                <a:pPr>
                  <a:defRPr/>
                </a:pPr>
                <a:r>
                  <a:rPr kumimoji="1" lang="en-US" altLang="zh-CN" sz="600" dirty="0">
                    <a:solidFill>
                      <a:srgbClr val="4F81BD"/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  <a:sym typeface="+mn-ea"/>
                  </a:rPr>
                  <a:t>(not mark all on the figure)</a:t>
                </a:r>
              </a:p>
            </p:txBody>
          </p:sp>
          <p:sp>
            <p:nvSpPr>
              <p:cNvPr id="768" name="椭圆 767">
                <a:extLst>
                  <a:ext uri="{FF2B5EF4-FFF2-40B4-BE49-F238E27FC236}">
                    <a16:creationId xmlns:a16="http://schemas.microsoft.com/office/drawing/2014/main" xmlns="" id="{D12BD50B-150F-41C7-D682-5BBA4CC37135}"/>
                  </a:ext>
                </a:extLst>
              </p:cNvPr>
              <p:cNvSpPr/>
              <p:nvPr/>
            </p:nvSpPr>
            <p:spPr>
              <a:xfrm>
                <a:off x="575449" y="3512772"/>
                <a:ext cx="94393" cy="94393"/>
              </a:xfrm>
              <a:prstGeom prst="ellipse">
                <a:avLst/>
              </a:prstGeom>
              <a:noFill/>
              <a:ln w="38100"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769" name="文本框 768">
                <a:extLst>
                  <a:ext uri="{FF2B5EF4-FFF2-40B4-BE49-F238E27FC236}">
                    <a16:creationId xmlns:a16="http://schemas.microsoft.com/office/drawing/2014/main" xmlns="" id="{103BB0BA-C012-E052-175E-19928C33F03C}"/>
                  </a:ext>
                </a:extLst>
              </p:cNvPr>
              <p:cNvSpPr txBox="1"/>
              <p:nvPr/>
            </p:nvSpPr>
            <p:spPr>
              <a:xfrm>
                <a:off x="761700" y="3477597"/>
                <a:ext cx="1542370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defRPr/>
                </a:pPr>
                <a:r>
                  <a:rPr kumimoji="1" lang="en-US" altLang="zh-CN" sz="1000" b="1" dirty="0">
                    <a:solidFill>
                      <a:schemeClr val="accent6">
                        <a:lumMod val="75000"/>
                      </a:schemeClr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  <a:sym typeface="+mn-ea"/>
                  </a:rPr>
                  <a:t>Spare Parts </a:t>
                </a:r>
                <a:r>
                  <a:rPr kumimoji="1" lang="en-US" altLang="zh-CN" sz="1000" b="1" dirty="0" smtClean="0">
                    <a:solidFill>
                      <a:schemeClr val="accent6">
                        <a:lumMod val="75000"/>
                      </a:schemeClr>
                    </a:solidFill>
                    <a:latin typeface="Noto Sans" panose="020B0502040504020204" pitchFamily="34" charset="0"/>
                    <a:ea typeface="Noto Sans" panose="020B0502040504020204" pitchFamily="34" charset="0"/>
                    <a:cs typeface="Noto Sans" panose="020B0502040504020204" pitchFamily="34" charset="0"/>
                    <a:sym typeface="+mn-ea"/>
                  </a:rPr>
                  <a:t>Warehouse</a:t>
                </a:r>
                <a:endParaRPr kumimoji="1" lang="en-US" altLang="zh-CN" sz="1000" b="1" dirty="0">
                  <a:solidFill>
                    <a:schemeClr val="accent6">
                      <a:lumMod val="75000"/>
                    </a:schemeClr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+mn-ea"/>
                </a:endParaRPr>
              </a:p>
            </p:txBody>
          </p:sp>
        </p:grpSp>
        <p:sp>
          <p:nvSpPr>
            <p:cNvPr id="718" name="文本框 717"/>
            <p:cNvSpPr txBox="1"/>
            <p:nvPr/>
          </p:nvSpPr>
          <p:spPr>
            <a:xfrm>
              <a:off x="6146372" y="2051335"/>
              <a:ext cx="1329950" cy="2167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Hong Kong, China</a:t>
              </a:r>
            </a:p>
          </p:txBody>
        </p:sp>
        <p:sp>
          <p:nvSpPr>
            <p:cNvPr id="719" name="文本框 718"/>
            <p:cNvSpPr txBox="1"/>
            <p:nvPr/>
          </p:nvSpPr>
          <p:spPr>
            <a:xfrm>
              <a:off x="1865368" y="2650224"/>
              <a:ext cx="540447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600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Colombia</a:t>
              </a:r>
            </a:p>
          </p:txBody>
        </p:sp>
        <p:sp>
          <p:nvSpPr>
            <p:cNvPr id="720" name="泪滴形 719"/>
            <p:cNvSpPr/>
            <p:nvPr/>
          </p:nvSpPr>
          <p:spPr>
            <a:xfrm rot="8100000">
              <a:off x="1781607" y="2643442"/>
              <a:ext cx="136240" cy="130194"/>
            </a:xfrm>
            <a:prstGeom prst="teardrop">
              <a:avLst/>
            </a:prstGeom>
            <a:solidFill>
              <a:srgbClr val="4F81BD"/>
            </a:solidFill>
            <a:ln>
              <a:noFill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600"/>
            </a:p>
          </p:txBody>
        </p:sp>
        <p:sp>
          <p:nvSpPr>
            <p:cNvPr id="721" name="椭圆 720"/>
            <p:cNvSpPr/>
            <p:nvPr/>
          </p:nvSpPr>
          <p:spPr>
            <a:xfrm>
              <a:off x="1799010" y="2664023"/>
              <a:ext cx="76214" cy="728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600"/>
            </a:p>
          </p:txBody>
        </p:sp>
        <p:sp>
          <p:nvSpPr>
            <p:cNvPr id="722" name="泪滴形 721"/>
            <p:cNvSpPr/>
            <p:nvPr/>
          </p:nvSpPr>
          <p:spPr>
            <a:xfrm rot="8100000">
              <a:off x="1218702" y="2111486"/>
              <a:ext cx="204124" cy="195067"/>
            </a:xfrm>
            <a:prstGeom prst="teardrop">
              <a:avLst/>
            </a:prstGeom>
            <a:solidFill>
              <a:srgbClr val="C00000"/>
            </a:solidFill>
            <a:ln>
              <a:noFill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3" name="椭圆 722"/>
            <p:cNvSpPr/>
            <p:nvPr/>
          </p:nvSpPr>
          <p:spPr>
            <a:xfrm>
              <a:off x="1265823" y="2154813"/>
              <a:ext cx="114189" cy="10912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4" name="泪滴形 723"/>
            <p:cNvSpPr/>
            <p:nvPr/>
          </p:nvSpPr>
          <p:spPr>
            <a:xfrm rot="8100000">
              <a:off x="2500787" y="3008783"/>
              <a:ext cx="136240" cy="130194"/>
            </a:xfrm>
            <a:prstGeom prst="teardrop">
              <a:avLst/>
            </a:prstGeom>
            <a:solidFill>
              <a:srgbClr val="4F81BD"/>
            </a:solidFill>
            <a:ln>
              <a:noFill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600"/>
            </a:p>
          </p:txBody>
        </p:sp>
        <p:sp>
          <p:nvSpPr>
            <p:cNvPr id="725" name="椭圆 724"/>
            <p:cNvSpPr/>
            <p:nvPr/>
          </p:nvSpPr>
          <p:spPr>
            <a:xfrm>
              <a:off x="2532237" y="3037701"/>
              <a:ext cx="76214" cy="728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600"/>
            </a:p>
          </p:txBody>
        </p:sp>
        <p:sp>
          <p:nvSpPr>
            <p:cNvPr id="726" name="文本框 725"/>
            <p:cNvSpPr txBox="1"/>
            <p:nvPr/>
          </p:nvSpPr>
          <p:spPr>
            <a:xfrm>
              <a:off x="2535708" y="2903132"/>
              <a:ext cx="540447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600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Brazil</a:t>
              </a:r>
            </a:p>
          </p:txBody>
        </p:sp>
        <p:sp>
          <p:nvSpPr>
            <p:cNvPr id="727" name="泪滴形 726"/>
            <p:cNvSpPr/>
            <p:nvPr/>
          </p:nvSpPr>
          <p:spPr>
            <a:xfrm rot="8100000">
              <a:off x="4084963" y="3584847"/>
              <a:ext cx="136240" cy="130194"/>
            </a:xfrm>
            <a:prstGeom prst="teardrop">
              <a:avLst/>
            </a:prstGeom>
            <a:solidFill>
              <a:srgbClr val="4F81BD"/>
            </a:solidFill>
            <a:ln>
              <a:noFill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600"/>
            </a:p>
          </p:txBody>
        </p:sp>
        <p:sp>
          <p:nvSpPr>
            <p:cNvPr id="728" name="椭圆 727"/>
            <p:cNvSpPr/>
            <p:nvPr/>
          </p:nvSpPr>
          <p:spPr>
            <a:xfrm>
              <a:off x="4116413" y="3613765"/>
              <a:ext cx="76214" cy="728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600"/>
            </a:p>
          </p:txBody>
        </p:sp>
        <p:sp>
          <p:nvSpPr>
            <p:cNvPr id="729" name="文本框 728"/>
            <p:cNvSpPr txBox="1"/>
            <p:nvPr/>
          </p:nvSpPr>
          <p:spPr>
            <a:xfrm>
              <a:off x="4146990" y="3639057"/>
              <a:ext cx="630741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600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South Africa</a:t>
              </a:r>
            </a:p>
          </p:txBody>
        </p:sp>
        <p:sp>
          <p:nvSpPr>
            <p:cNvPr id="730" name="泪滴形 729"/>
            <p:cNvSpPr/>
            <p:nvPr/>
          </p:nvSpPr>
          <p:spPr>
            <a:xfrm rot="8100000">
              <a:off x="4173069" y="2025683"/>
              <a:ext cx="136240" cy="130194"/>
            </a:xfrm>
            <a:prstGeom prst="teardrop">
              <a:avLst/>
            </a:prstGeom>
            <a:solidFill>
              <a:srgbClr val="4F81BD"/>
            </a:solidFill>
            <a:ln>
              <a:noFill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600"/>
            </a:p>
          </p:txBody>
        </p:sp>
        <p:sp>
          <p:nvSpPr>
            <p:cNvPr id="731" name="文本框 730"/>
            <p:cNvSpPr txBox="1"/>
            <p:nvPr/>
          </p:nvSpPr>
          <p:spPr>
            <a:xfrm>
              <a:off x="3850851" y="2015951"/>
              <a:ext cx="540447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600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Egypt</a:t>
              </a:r>
            </a:p>
          </p:txBody>
        </p:sp>
        <p:sp>
          <p:nvSpPr>
            <p:cNvPr id="732" name="椭圆 731"/>
            <p:cNvSpPr/>
            <p:nvPr/>
          </p:nvSpPr>
          <p:spPr>
            <a:xfrm>
              <a:off x="4205524" y="2060371"/>
              <a:ext cx="76214" cy="728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600"/>
            </a:p>
          </p:txBody>
        </p:sp>
        <p:sp>
          <p:nvSpPr>
            <p:cNvPr id="733" name="泪滴形 732"/>
            <p:cNvSpPr/>
            <p:nvPr/>
          </p:nvSpPr>
          <p:spPr>
            <a:xfrm rot="8100000">
              <a:off x="4664189" y="1998464"/>
              <a:ext cx="204124" cy="195067"/>
            </a:xfrm>
            <a:prstGeom prst="teardrop">
              <a:avLst/>
            </a:prstGeom>
            <a:solidFill>
              <a:srgbClr val="C00000"/>
            </a:solidFill>
            <a:ln>
              <a:noFill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4" name="椭圆 733"/>
            <p:cNvSpPr/>
            <p:nvPr/>
          </p:nvSpPr>
          <p:spPr>
            <a:xfrm>
              <a:off x="4711310" y="2041791"/>
              <a:ext cx="114189" cy="10912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5" name="泪滴形 734"/>
            <p:cNvSpPr/>
            <p:nvPr/>
          </p:nvSpPr>
          <p:spPr>
            <a:xfrm rot="8100000">
              <a:off x="4512945" y="2156557"/>
              <a:ext cx="204124" cy="195067"/>
            </a:xfrm>
            <a:prstGeom prst="teardrop">
              <a:avLst/>
            </a:prstGeom>
            <a:solidFill>
              <a:srgbClr val="C00000"/>
            </a:solidFill>
            <a:ln>
              <a:noFill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6" name="椭圆 735"/>
            <p:cNvSpPr/>
            <p:nvPr/>
          </p:nvSpPr>
          <p:spPr>
            <a:xfrm>
              <a:off x="4560066" y="2199884"/>
              <a:ext cx="114189" cy="10912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7" name="泪滴形 736"/>
            <p:cNvSpPr/>
            <p:nvPr/>
          </p:nvSpPr>
          <p:spPr>
            <a:xfrm rot="8100000">
              <a:off x="3337257" y="1928663"/>
              <a:ext cx="136240" cy="130194"/>
            </a:xfrm>
            <a:prstGeom prst="teardrop">
              <a:avLst/>
            </a:prstGeom>
            <a:solidFill>
              <a:srgbClr val="4F81BD"/>
            </a:solidFill>
            <a:ln>
              <a:noFill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600"/>
            </a:p>
          </p:txBody>
        </p:sp>
        <p:sp>
          <p:nvSpPr>
            <p:cNvPr id="738" name="椭圆 737"/>
            <p:cNvSpPr/>
            <p:nvPr/>
          </p:nvSpPr>
          <p:spPr>
            <a:xfrm>
              <a:off x="3354660" y="1949244"/>
              <a:ext cx="76214" cy="728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600"/>
            </a:p>
          </p:txBody>
        </p:sp>
        <p:sp>
          <p:nvSpPr>
            <p:cNvPr id="739" name="文本框 738"/>
            <p:cNvSpPr txBox="1"/>
            <p:nvPr/>
          </p:nvSpPr>
          <p:spPr>
            <a:xfrm>
              <a:off x="3071446" y="2012677"/>
              <a:ext cx="540447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600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Morocco</a:t>
              </a:r>
            </a:p>
          </p:txBody>
        </p:sp>
        <p:sp>
          <p:nvSpPr>
            <p:cNvPr id="740" name="泪滴形 739"/>
            <p:cNvSpPr/>
            <p:nvPr/>
          </p:nvSpPr>
          <p:spPr>
            <a:xfrm rot="8100000">
              <a:off x="3411093" y="1633607"/>
              <a:ext cx="204124" cy="195067"/>
            </a:xfrm>
            <a:prstGeom prst="teardrop">
              <a:avLst/>
            </a:prstGeom>
            <a:solidFill>
              <a:srgbClr val="C00000"/>
            </a:solidFill>
            <a:ln>
              <a:noFill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1" name="椭圆 740"/>
            <p:cNvSpPr/>
            <p:nvPr/>
          </p:nvSpPr>
          <p:spPr>
            <a:xfrm>
              <a:off x="3458214" y="1676934"/>
              <a:ext cx="114189" cy="10912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2" name="泪滴形 741"/>
            <p:cNvSpPr/>
            <p:nvPr/>
          </p:nvSpPr>
          <p:spPr>
            <a:xfrm rot="8100000">
              <a:off x="3406284" y="1218994"/>
              <a:ext cx="204124" cy="195067"/>
            </a:xfrm>
            <a:prstGeom prst="teardrop">
              <a:avLst/>
            </a:prstGeom>
            <a:solidFill>
              <a:srgbClr val="C00000"/>
            </a:solidFill>
            <a:ln>
              <a:noFill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3" name="椭圆 742"/>
            <p:cNvSpPr/>
            <p:nvPr/>
          </p:nvSpPr>
          <p:spPr>
            <a:xfrm>
              <a:off x="3453405" y="1262321"/>
              <a:ext cx="114189" cy="10912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4" name="泪滴形 743"/>
            <p:cNvSpPr/>
            <p:nvPr/>
          </p:nvSpPr>
          <p:spPr>
            <a:xfrm rot="8100000">
              <a:off x="5654508" y="2065314"/>
              <a:ext cx="204124" cy="195067"/>
            </a:xfrm>
            <a:prstGeom prst="teardrop">
              <a:avLst/>
            </a:prstGeom>
            <a:solidFill>
              <a:srgbClr val="C00000"/>
            </a:solidFill>
            <a:ln>
              <a:noFill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5" name="椭圆 744"/>
            <p:cNvSpPr/>
            <p:nvPr/>
          </p:nvSpPr>
          <p:spPr>
            <a:xfrm>
              <a:off x="5701629" y="2108641"/>
              <a:ext cx="114189" cy="10912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6" name="泪滴形 745"/>
            <p:cNvSpPr/>
            <p:nvPr/>
          </p:nvSpPr>
          <p:spPr>
            <a:xfrm rot="8100000">
              <a:off x="6380348" y="2425354"/>
              <a:ext cx="204124" cy="195067"/>
            </a:xfrm>
            <a:prstGeom prst="teardrop">
              <a:avLst/>
            </a:prstGeom>
            <a:solidFill>
              <a:srgbClr val="C00000"/>
            </a:solidFill>
            <a:ln>
              <a:noFill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7" name="椭圆 746"/>
            <p:cNvSpPr/>
            <p:nvPr/>
          </p:nvSpPr>
          <p:spPr>
            <a:xfrm>
              <a:off x="6427469" y="2468681"/>
              <a:ext cx="114189" cy="10912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8" name="泪滴形 747"/>
            <p:cNvSpPr/>
            <p:nvPr/>
          </p:nvSpPr>
          <p:spPr>
            <a:xfrm rot="8100000">
              <a:off x="5902295" y="2233641"/>
              <a:ext cx="204124" cy="195067"/>
            </a:xfrm>
            <a:prstGeom prst="teardrop">
              <a:avLst/>
            </a:prstGeom>
            <a:solidFill>
              <a:srgbClr val="C00000"/>
            </a:solidFill>
            <a:ln>
              <a:noFill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9" name="椭圆 748"/>
            <p:cNvSpPr/>
            <p:nvPr/>
          </p:nvSpPr>
          <p:spPr>
            <a:xfrm>
              <a:off x="5949416" y="2276968"/>
              <a:ext cx="114189" cy="10912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0" name="泪滴形 749"/>
            <p:cNvSpPr/>
            <p:nvPr/>
          </p:nvSpPr>
          <p:spPr>
            <a:xfrm rot="8100000">
              <a:off x="6533235" y="3413205"/>
              <a:ext cx="136240" cy="130194"/>
            </a:xfrm>
            <a:prstGeom prst="teardrop">
              <a:avLst/>
            </a:prstGeom>
            <a:solidFill>
              <a:srgbClr val="4F81BD"/>
            </a:solidFill>
            <a:ln>
              <a:noFill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600"/>
            </a:p>
          </p:txBody>
        </p:sp>
        <p:sp>
          <p:nvSpPr>
            <p:cNvPr id="751" name="椭圆 750"/>
            <p:cNvSpPr/>
            <p:nvPr/>
          </p:nvSpPr>
          <p:spPr>
            <a:xfrm>
              <a:off x="6550638" y="3433786"/>
              <a:ext cx="76214" cy="728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600"/>
            </a:p>
          </p:txBody>
        </p:sp>
        <p:sp>
          <p:nvSpPr>
            <p:cNvPr id="752" name="文本框 751"/>
            <p:cNvSpPr txBox="1"/>
            <p:nvPr/>
          </p:nvSpPr>
          <p:spPr>
            <a:xfrm>
              <a:off x="6121850" y="3405980"/>
              <a:ext cx="630741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600" dirty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Australia</a:t>
              </a:r>
            </a:p>
          </p:txBody>
        </p:sp>
        <p:sp>
          <p:nvSpPr>
            <p:cNvPr id="753" name="泪滴形 752"/>
            <p:cNvSpPr/>
            <p:nvPr/>
          </p:nvSpPr>
          <p:spPr>
            <a:xfrm rot="8100000">
              <a:off x="1753081" y="3080791"/>
              <a:ext cx="136240" cy="130194"/>
            </a:xfrm>
            <a:prstGeom prst="teardrop">
              <a:avLst/>
            </a:prstGeom>
            <a:solidFill>
              <a:srgbClr val="4F81BD"/>
            </a:solidFill>
            <a:ln>
              <a:noFill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600"/>
            </a:p>
          </p:txBody>
        </p:sp>
        <p:sp>
          <p:nvSpPr>
            <p:cNvPr id="754" name="椭圆 753"/>
            <p:cNvSpPr/>
            <p:nvPr/>
          </p:nvSpPr>
          <p:spPr>
            <a:xfrm>
              <a:off x="1770484" y="3101372"/>
              <a:ext cx="76214" cy="728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600"/>
            </a:p>
          </p:txBody>
        </p:sp>
        <p:sp>
          <p:nvSpPr>
            <p:cNvPr id="755" name="泪滴形 754"/>
            <p:cNvSpPr/>
            <p:nvPr/>
          </p:nvSpPr>
          <p:spPr>
            <a:xfrm rot="8100000">
              <a:off x="1924723" y="3485213"/>
              <a:ext cx="136240" cy="130194"/>
            </a:xfrm>
            <a:prstGeom prst="teardrop">
              <a:avLst/>
            </a:prstGeom>
            <a:solidFill>
              <a:srgbClr val="4F81BD"/>
            </a:solidFill>
            <a:ln>
              <a:noFill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600"/>
            </a:p>
          </p:txBody>
        </p:sp>
        <p:sp>
          <p:nvSpPr>
            <p:cNvPr id="756" name="椭圆 755"/>
            <p:cNvSpPr/>
            <p:nvPr/>
          </p:nvSpPr>
          <p:spPr>
            <a:xfrm>
              <a:off x="1942126" y="3505794"/>
              <a:ext cx="76214" cy="728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600"/>
            </a:p>
          </p:txBody>
        </p:sp>
        <p:sp>
          <p:nvSpPr>
            <p:cNvPr id="757" name="文本框 756"/>
            <p:cNvSpPr txBox="1"/>
            <p:nvPr/>
          </p:nvSpPr>
          <p:spPr>
            <a:xfrm>
              <a:off x="1910039" y="3567345"/>
              <a:ext cx="540447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600" dirty="0" smtClean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Chile</a:t>
              </a:r>
              <a:endParaRPr lang="en-US" altLang="zh-CN" sz="6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758" name="文本框 757"/>
            <p:cNvSpPr txBox="1"/>
            <p:nvPr/>
          </p:nvSpPr>
          <p:spPr>
            <a:xfrm>
              <a:off x="1758015" y="3157676"/>
              <a:ext cx="540447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600" dirty="0" smtClean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Peru</a:t>
              </a:r>
              <a:endParaRPr lang="en-US" altLang="zh-CN" sz="6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759" name="泪滴形 758"/>
            <p:cNvSpPr/>
            <p:nvPr/>
          </p:nvSpPr>
          <p:spPr>
            <a:xfrm rot="8100000">
              <a:off x="5021067" y="1973045"/>
              <a:ext cx="136240" cy="130194"/>
            </a:xfrm>
            <a:prstGeom prst="teardrop">
              <a:avLst/>
            </a:prstGeom>
            <a:solidFill>
              <a:srgbClr val="4F81BD"/>
            </a:solidFill>
            <a:ln>
              <a:noFill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600"/>
            </a:p>
          </p:txBody>
        </p:sp>
        <p:sp>
          <p:nvSpPr>
            <p:cNvPr id="760" name="椭圆 759"/>
            <p:cNvSpPr/>
            <p:nvPr/>
          </p:nvSpPr>
          <p:spPr>
            <a:xfrm>
              <a:off x="5038470" y="1993626"/>
              <a:ext cx="76214" cy="728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600"/>
            </a:p>
          </p:txBody>
        </p:sp>
        <p:sp>
          <p:nvSpPr>
            <p:cNvPr id="761" name="文本框 760"/>
            <p:cNvSpPr txBox="1"/>
            <p:nvPr/>
          </p:nvSpPr>
          <p:spPr>
            <a:xfrm>
              <a:off x="4799420" y="1848357"/>
              <a:ext cx="540447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600" dirty="0" smtClean="0"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</a:rPr>
                <a:t>Pakistan</a:t>
              </a:r>
              <a:endParaRPr lang="en-US" altLang="zh-CN" sz="6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endParaRPr>
            </a:p>
          </p:txBody>
        </p:sp>
        <p:sp>
          <p:nvSpPr>
            <p:cNvPr id="762" name="矩形 761"/>
            <p:cNvSpPr/>
            <p:nvPr/>
          </p:nvSpPr>
          <p:spPr>
            <a:xfrm>
              <a:off x="389390" y="3174467"/>
              <a:ext cx="1144865" cy="18466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kumimoji="1" lang="zh-CN" altLang="en-US" sz="600" dirty="0" smtClean="0">
                  <a:solidFill>
                    <a:srgbClr val="FF0000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+mn-ea"/>
                </a:rPr>
                <a:t>（</a:t>
              </a:r>
              <a:r>
                <a:rPr kumimoji="1" lang="en-US" altLang="zh-CN" sz="600" dirty="0" smtClean="0">
                  <a:solidFill>
                    <a:srgbClr val="FF0000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+mn-ea"/>
                </a:rPr>
                <a:t>not </a:t>
              </a:r>
              <a:r>
                <a:rPr kumimoji="1" lang="en-US" altLang="zh-CN" sz="600" dirty="0">
                  <a:solidFill>
                    <a:srgbClr val="FF0000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+mn-ea"/>
                </a:rPr>
                <a:t>mark all on the </a:t>
              </a:r>
              <a:r>
                <a:rPr kumimoji="1" lang="en-US" altLang="zh-CN" sz="600" dirty="0" smtClean="0">
                  <a:solidFill>
                    <a:srgbClr val="FF0000"/>
                  </a:solidFill>
                  <a:latin typeface="Noto Sans" panose="020B0502040504020204" pitchFamily="34" charset="0"/>
                  <a:ea typeface="Noto Sans" panose="020B0502040504020204" pitchFamily="34" charset="0"/>
                  <a:cs typeface="Noto Sans" panose="020B0502040504020204" pitchFamily="34" charset="0"/>
                  <a:sym typeface="+mn-ea"/>
                </a:rPr>
                <a:t>figure)</a:t>
              </a:r>
              <a:endParaRPr kumimoji="1" lang="en-US" altLang="zh-CN" sz="600" dirty="0">
                <a:solidFill>
                  <a:srgbClr val="FF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+mn-ea"/>
              </a:endParaRPr>
            </a:p>
          </p:txBody>
        </p:sp>
        <p:sp>
          <p:nvSpPr>
            <p:cNvPr id="763" name="椭圆 762">
              <a:extLst>
                <a:ext uri="{FF2B5EF4-FFF2-40B4-BE49-F238E27FC236}">
                  <a16:creationId xmlns:a16="http://schemas.microsoft.com/office/drawing/2014/main" xmlns="" id="{8EFBEDF5-AD62-28F9-5F7C-1056BFB09B8A}"/>
                </a:ext>
              </a:extLst>
            </p:cNvPr>
            <p:cNvSpPr/>
            <p:nvPr/>
          </p:nvSpPr>
          <p:spPr>
            <a:xfrm>
              <a:off x="6407522" y="1970232"/>
              <a:ext cx="45719" cy="45719"/>
            </a:xfrm>
            <a:prstGeom prst="ellipse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383828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文本占位符 2">
            <a:extLst>
              <a:ext uri="{FF2B5EF4-FFF2-40B4-BE49-F238E27FC236}">
                <a16:creationId xmlns:a16="http://schemas.microsoft.com/office/drawing/2014/main" xmlns="" id="{7E817D83-8F41-2437-C5BE-2842526EF96D}"/>
              </a:ext>
            </a:extLst>
          </p:cNvPr>
          <p:cNvSpPr txBox="1">
            <a:spLocks/>
          </p:cNvSpPr>
          <p:nvPr/>
        </p:nvSpPr>
        <p:spPr>
          <a:xfrm>
            <a:off x="358850" y="341068"/>
            <a:ext cx="9892810" cy="3762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-215981" algn="l" defTabSz="863925" rtl="0" eaLnBrk="1" latinLnBrk="0" hangingPunct="1">
              <a:lnSpc>
                <a:spcPct val="90000"/>
              </a:lnSpc>
              <a:spcBef>
                <a:spcPts val="945"/>
              </a:spcBef>
              <a:buFont typeface="Arial" panose="020B0604020202020204" pitchFamily="34" charset="0"/>
              <a:buNone/>
              <a:defRPr lang="zh-CN" altLang="en-US" sz="2645" b="1" kern="1200" dirty="0">
                <a:solidFill>
                  <a:schemeClr val="tx1"/>
                </a:solidFill>
                <a:latin typeface="Arial" panose="020B0604020202020204" pitchFamily="34" charset="0"/>
                <a:ea typeface="方正兰亭中粗黑简体" panose="02000000000000000000" charset="-122"/>
                <a:cs typeface="Arial" panose="020B0604020202020204" pitchFamily="34" charset="0"/>
              </a:defRPr>
            </a:lvl1pPr>
            <a:lvl2pPr marL="647944" indent="-215981" algn="l" defTabSz="86392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79906" indent="-215981" algn="l" defTabSz="86392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1869" indent="-215981" algn="l" defTabSz="86392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43832" indent="-215981" algn="l" defTabSz="86392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5794" indent="-215981" algn="l" defTabSz="86392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7757" indent="-215981" algn="l" defTabSz="86392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39719" indent="-215981" algn="l" defTabSz="86392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1682" indent="-215981" algn="l" defTabSz="863925" rtl="0" eaLnBrk="1" latinLnBrk="0" hangingPunct="1">
              <a:lnSpc>
                <a:spcPct val="90000"/>
              </a:lnSpc>
              <a:spcBef>
                <a:spcPts val="472"/>
              </a:spcBef>
              <a:buFont typeface="Arial" panose="020B0604020202020204" pitchFamily="34" charset="0"/>
              <a:buChar char="•"/>
              <a:defRPr sz="17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800" dirty="0">
                <a:solidFill>
                  <a:srgbClr val="0055CD"/>
                </a:solidFill>
                <a:latin typeface="Noto Sans Black" panose="020B0A02040504020204" pitchFamily="34" charset="0"/>
                <a:ea typeface="Noto Sans Black" panose="020B0A02040504020204" pitchFamily="34" charset="0"/>
                <a:cs typeface="Noto Sans Black" panose="020B0A02040504020204" pitchFamily="34" charset="0"/>
                <a:sym typeface="+mn-ea"/>
              </a:rPr>
              <a:t>Customer Voices of </a:t>
            </a:r>
            <a:r>
              <a:rPr lang="en-US" altLang="zh-CN" sz="2800" dirty="0">
                <a:latin typeface="Noto Sans Black" panose="020B0A02040504020204" pitchFamily="34" charset="0"/>
                <a:ea typeface="Noto Sans Black" panose="020B0A02040504020204" pitchFamily="34" charset="0"/>
                <a:cs typeface="Noto Sans Black" panose="020B0A02040504020204" pitchFamily="34" charset="0"/>
                <a:sym typeface="+mn-ea"/>
              </a:rPr>
              <a:t>Ruijie Service Experience</a:t>
            </a:r>
            <a:endParaRPr lang="en-US" altLang="zh-CN" sz="2800" dirty="0">
              <a:latin typeface="Noto Sans Black" panose="020B0A02040504020204"/>
              <a:ea typeface="Noto Sans Black" panose="020B0A02040504020204" pitchFamily="34" charset="0"/>
              <a:cs typeface="Noto Sans Black" panose="020B0A02040504020204" pitchFamily="34" charset="0"/>
            </a:endParaRPr>
          </a:p>
        </p:txBody>
      </p:sp>
      <p:sp>
        <p:nvSpPr>
          <p:cNvPr id="13" name="右箭头 12"/>
          <p:cNvSpPr/>
          <p:nvPr/>
        </p:nvSpPr>
        <p:spPr>
          <a:xfrm>
            <a:off x="497496" y="8396272"/>
            <a:ext cx="216024" cy="216024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对角圆角矩形 19"/>
          <p:cNvSpPr/>
          <p:nvPr>
            <p:custDataLst>
              <p:tags r:id="rId1"/>
            </p:custDataLst>
          </p:nvPr>
        </p:nvSpPr>
        <p:spPr>
          <a:xfrm>
            <a:off x="703372" y="956491"/>
            <a:ext cx="4191981" cy="404347"/>
          </a:xfrm>
          <a:prstGeom prst="round2DiagRect">
            <a:avLst>
              <a:gd name="adj1" fmla="val 49736"/>
              <a:gd name="adj2" fmla="val 0"/>
            </a:avLst>
          </a:prstGeom>
          <a:solidFill>
            <a:srgbClr val="5F96C3"/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fr-FR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nstance </a:t>
            </a:r>
            <a:r>
              <a:rPr kumimoji="0" lang="en-US" altLang="fr-FR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4</a:t>
            </a:r>
            <a:r>
              <a:rPr kumimoji="0" lang="fr-FR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: </a:t>
            </a:r>
            <a:r>
              <a:rPr lang="fr-FR" sz="1400" b="1" kern="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Efficiently</a:t>
            </a:r>
            <a:r>
              <a:rPr kumimoji="0" lang="fr-FR" sz="1200" b="1" i="0" u="none" strike="noStrike" kern="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</a:t>
            </a:r>
            <a:r>
              <a:rPr kumimoji="0" lang="en-US" altLang="fr-FR" sz="14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TAC Support</a:t>
            </a:r>
          </a:p>
        </p:txBody>
      </p:sp>
      <p:sp>
        <p:nvSpPr>
          <p:cNvPr id="21" name="圆角矩形 20"/>
          <p:cNvSpPr/>
          <p:nvPr>
            <p:custDataLst>
              <p:tags r:id="rId2"/>
            </p:custDataLst>
          </p:nvPr>
        </p:nvSpPr>
        <p:spPr>
          <a:xfrm>
            <a:off x="646882" y="1528097"/>
            <a:ext cx="10169336" cy="1180957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0">
              <a:lnSpc>
                <a:spcPct val="125000"/>
              </a:lnSpc>
              <a:defRPr/>
            </a:pPr>
            <a:r>
              <a:rPr lang="en-US" altLang="zh-CN" sz="1400" kern="0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Ruijie TAC </a:t>
            </a:r>
            <a:r>
              <a:rPr lang="en-US" altLang="zh-CN" sz="1400" kern="0" dirty="0" smtClean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Engineer</a:t>
            </a:r>
            <a:r>
              <a:rPr lang="en-US" altLang="zh-CN" sz="1400" kern="0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: </a:t>
            </a:r>
            <a:r>
              <a:rPr lang="en-US" altLang="zh-CN" sz="1400" b="1" i="1" kern="0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Harvey</a:t>
            </a:r>
          </a:p>
          <a:p>
            <a:pPr lvl="0">
              <a:lnSpc>
                <a:spcPct val="125000"/>
              </a:lnSpc>
              <a:defRPr/>
            </a:pPr>
            <a:r>
              <a:rPr lang="en-US" altLang="zh-CN" sz="1400" b="1" kern="0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Keywords: Tickets Support, solve issues with customers, fast</a:t>
            </a:r>
            <a:r>
              <a:rPr lang="zh-CN" altLang="en-US" sz="1400" b="1" kern="0" dirty="0">
                <a:solidFill>
                  <a:prstClr val="black"/>
                </a:solidFill>
                <a:latin typeface="Noto Sans" panose="020B0502040504020204" pitchFamily="34" charset="0"/>
                <a:ea typeface="宋体" panose="02010600030101010101" pitchFamily="2" charset="-122"/>
                <a:cs typeface="Noto Sans" panose="020B0502040504020204" pitchFamily="34" charset="0"/>
              </a:rPr>
              <a:t>，</a:t>
            </a:r>
            <a:r>
              <a:rPr lang="en-US" altLang="zh-CN" sz="1400" b="1" kern="0" dirty="0">
                <a:solidFill>
                  <a:prstClr val="black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effectively</a:t>
            </a:r>
          </a:p>
        </p:txBody>
      </p:sp>
      <p:pic>
        <p:nvPicPr>
          <p:cNvPr id="22" name="图片 21"/>
          <p:cNvPicPr>
            <a:picLocks noChangeAspect="1"/>
          </p:cNvPicPr>
          <p:nvPr/>
        </p:nvPicPr>
        <p:blipFill rotWithShape="1">
          <a:blip r:embed="rId4"/>
          <a:stretch>
            <a:fillRect/>
          </a:stretch>
        </p:blipFill>
        <p:spPr>
          <a:xfrm>
            <a:off x="647065" y="2879725"/>
            <a:ext cx="7928610" cy="32512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42090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altLang="zh-CN" dirty="0">
                <a:latin typeface="Noto Sans Medium" panose="020B0602040504020204" pitchFamily="34" charset="0"/>
                <a:ea typeface="Noto Sans Medium" panose="020B0602040504020204" pitchFamily="34" charset="0"/>
                <a:cs typeface="Noto Sans Medium" panose="020B0602040504020204" pitchFamily="34" charset="0"/>
              </a:rPr>
              <a:t>Technical Support Resource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9"/>
          </p:nvPr>
        </p:nvSpPr>
        <p:spPr>
          <a:xfrm>
            <a:off x="1988302" y="3739790"/>
            <a:ext cx="8307651" cy="448520"/>
          </a:xfrm>
        </p:spPr>
        <p:txBody>
          <a:bodyPr/>
          <a:lstStyle/>
          <a:p>
            <a:r>
              <a:rPr lang="en-US" altLang="zh-CN" dirty="0">
                <a:latin typeface="Noto Sans Medium" panose="020B0602040504020204" pitchFamily="34" charset="0"/>
                <a:ea typeface="Noto Sans Medium" panose="020B0602040504020204" pitchFamily="34" charset="0"/>
                <a:cs typeface="Noto Sans Medium" panose="020B0602040504020204" pitchFamily="34" charset="0"/>
              </a:rPr>
              <a:t>Warranty Policy and Value-added Service Product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altLang="zh-CN" dirty="0">
                <a:latin typeface="Noto Sans Medium" panose="020B0602040504020204" pitchFamily="34" charset="0"/>
                <a:ea typeface="Noto Sans Medium" panose="020B0602040504020204" pitchFamily="34" charset="0"/>
                <a:cs typeface="Noto Sans Medium" panose="020B0602040504020204" pitchFamily="34" charset="0"/>
              </a:rPr>
              <a:t>Training &amp; Certification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altLang="zh-CN" dirty="0">
                <a:latin typeface="Noto Sans Black" panose="020B0A02040504020204"/>
              </a:rPr>
              <a:t>01</a:t>
            </a:r>
            <a:endParaRPr lang="zh-CN" altLang="en-US" dirty="0">
              <a:latin typeface="Noto Sans Black" panose="020B0A02040504020204"/>
            </a:endParaRPr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altLang="zh-CN" dirty="0">
                <a:latin typeface="Noto Sans Black" panose="020B0A02040504020204"/>
              </a:rPr>
              <a:t>02</a:t>
            </a:r>
            <a:endParaRPr lang="zh-CN" altLang="en-US" dirty="0">
              <a:latin typeface="Noto Sans Black" panose="020B0A02040504020204"/>
            </a:endParaRPr>
          </a:p>
        </p:txBody>
      </p:sp>
      <p:sp>
        <p:nvSpPr>
          <p:cNvPr id="9" name="文本占位符 8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 altLang="zh-CN" dirty="0">
                <a:latin typeface="Noto Sans Black" panose="020B0A02040504020204"/>
              </a:rPr>
              <a:t>03</a:t>
            </a:r>
            <a:endParaRPr lang="zh-CN" altLang="en-US" dirty="0">
              <a:latin typeface="Noto Sans Black" panose="020B0A02040504020204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9"/>
          <p:cNvSpPr>
            <a:spLocks noGrp="1"/>
          </p:cNvSpPr>
          <p:nvPr>
            <p:ph type="ctrTitle"/>
          </p:nvPr>
        </p:nvSpPr>
        <p:spPr>
          <a:xfrm>
            <a:off x="394335" y="2736031"/>
            <a:ext cx="9541579" cy="825500"/>
          </a:xfrm>
        </p:spPr>
        <p:txBody>
          <a:bodyPr/>
          <a:lstStyle/>
          <a:p>
            <a:r>
              <a:rPr lang="en-US" altLang="zh-CN" sz="4000" b="1" dirty="0">
                <a:latin typeface="Noto Sans Medium" panose="020B0602040504020204" pitchFamily="34" charset="0"/>
                <a:ea typeface="Noto Sans Medium" panose="020B0602040504020204" pitchFamily="34" charset="0"/>
                <a:cs typeface="Noto Sans Medium" panose="020B0602040504020204" pitchFamily="34" charset="0"/>
              </a:rPr>
              <a:t>Technical Support Resourc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Noto Sans Black" panose="020B0A02040504020204"/>
              </a:rPr>
              <a:t>Remote Technical Support Overview</a:t>
            </a:r>
          </a:p>
        </p:txBody>
      </p:sp>
      <p:grpSp>
        <p:nvGrpSpPr>
          <p:cNvPr id="49" name="组合 48"/>
          <p:cNvGrpSpPr/>
          <p:nvPr/>
        </p:nvGrpSpPr>
        <p:grpSpPr>
          <a:xfrm>
            <a:off x="576734" y="1151855"/>
            <a:ext cx="10100543" cy="4752527"/>
            <a:chOff x="252666" y="704850"/>
            <a:chExt cx="11148758" cy="5245735"/>
          </a:xfrm>
        </p:grpSpPr>
        <p:sp>
          <p:nvSpPr>
            <p:cNvPr id="50" name="圆角矩形 49"/>
            <p:cNvSpPr/>
            <p:nvPr/>
          </p:nvSpPr>
          <p:spPr>
            <a:xfrm>
              <a:off x="252666" y="704850"/>
              <a:ext cx="11148758" cy="5245735"/>
            </a:xfrm>
            <a:prstGeom prst="roundRect">
              <a:avLst>
                <a:gd name="adj" fmla="val 0"/>
              </a:avLst>
            </a:prstGeom>
            <a:solidFill>
              <a:schemeClr val="bg1">
                <a:alpha val="92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  <a:latin typeface="Noto Sans Medium" panose="020B0602040504020204" pitchFamily="34" charset="0"/>
                <a:cs typeface="Noto Sans Medium" panose="020B0602040504020204" pitchFamily="34" charset="0"/>
              </a:endParaRPr>
            </a:p>
          </p:txBody>
        </p:sp>
        <p:cxnSp>
          <p:nvCxnSpPr>
            <p:cNvPr id="51" name="直接箭头连接符 50"/>
            <p:cNvCxnSpPr/>
            <p:nvPr/>
          </p:nvCxnSpPr>
          <p:spPr>
            <a:xfrm>
              <a:off x="3807283" y="3011180"/>
              <a:ext cx="448408" cy="0"/>
            </a:xfrm>
            <a:prstGeom prst="straightConnector1">
              <a:avLst/>
            </a:prstGeom>
            <a:ln w="28575">
              <a:solidFill>
                <a:schemeClr val="bg1">
                  <a:lumMod val="65000"/>
                </a:schemeClr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椭圆 51"/>
            <p:cNvSpPr/>
            <p:nvPr/>
          </p:nvSpPr>
          <p:spPr>
            <a:xfrm>
              <a:off x="628728" y="1773361"/>
              <a:ext cx="1204041" cy="880191"/>
            </a:xfrm>
            <a:prstGeom prst="ellipse">
              <a:avLst/>
            </a:prstGeom>
            <a:solidFill>
              <a:srgbClr val="95BAD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100" dirty="0">
                  <a:latin typeface="Noto Sans Medium" panose="020B0602040504020204" pitchFamily="34" charset="0"/>
                  <a:ea typeface="Noto Sans Medium" panose="020B0602040504020204" pitchFamily="34" charset="0"/>
                  <a:cs typeface="Noto Sans Medium" panose="020B0602040504020204" pitchFamily="34" charset="0"/>
                </a:rPr>
                <a:t>End</a:t>
              </a:r>
            </a:p>
            <a:p>
              <a:pPr algn="ctr"/>
              <a:r>
                <a:rPr lang="en-US" altLang="zh-CN" sz="1100" dirty="0">
                  <a:latin typeface="Noto Sans Medium" panose="020B0602040504020204" pitchFamily="34" charset="0"/>
                  <a:ea typeface="Noto Sans Medium" panose="020B0602040504020204" pitchFamily="34" charset="0"/>
                  <a:cs typeface="Noto Sans Medium" panose="020B0602040504020204" pitchFamily="34" charset="0"/>
                </a:rPr>
                <a:t>User</a:t>
              </a:r>
              <a:endParaRPr lang="zh-CN" altLang="en-US" sz="1100" dirty="0">
                <a:latin typeface="Noto Sans Medium" panose="020B0602040504020204" pitchFamily="34" charset="0"/>
                <a:ea typeface="微软雅黑" panose="020B0503020204020204" charset="-122"/>
                <a:cs typeface="Noto Sans Medium" panose="020B0602040504020204" pitchFamily="34" charset="0"/>
              </a:endParaRPr>
            </a:p>
          </p:txBody>
        </p:sp>
        <p:sp>
          <p:nvSpPr>
            <p:cNvPr id="53" name="椭圆 52"/>
            <p:cNvSpPr/>
            <p:nvPr/>
          </p:nvSpPr>
          <p:spPr>
            <a:xfrm>
              <a:off x="628728" y="3249412"/>
              <a:ext cx="1204041" cy="879618"/>
            </a:xfrm>
            <a:prstGeom prst="ellipse">
              <a:avLst/>
            </a:prstGeom>
            <a:solidFill>
              <a:srgbClr val="B6C2C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100" dirty="0">
                  <a:latin typeface="Noto Sans Medium" panose="020B0602040504020204" pitchFamily="34" charset="0"/>
                  <a:ea typeface="Noto Sans Medium" panose="020B0602040504020204" pitchFamily="34" charset="0"/>
                  <a:cs typeface="Noto Sans Medium" panose="020B0602040504020204" pitchFamily="34" charset="0"/>
                </a:rPr>
                <a:t>Partners</a:t>
              </a:r>
              <a:endParaRPr lang="zh-CN" altLang="en-US" sz="1100" dirty="0">
                <a:latin typeface="Noto Sans Medium" panose="020B0602040504020204" pitchFamily="34" charset="0"/>
                <a:ea typeface="微软雅黑" panose="020B0503020204020204" charset="-122"/>
                <a:cs typeface="Noto Sans Medium" panose="020B0602040504020204" pitchFamily="34" charset="0"/>
              </a:endParaRPr>
            </a:p>
          </p:txBody>
        </p:sp>
        <p:cxnSp>
          <p:nvCxnSpPr>
            <p:cNvPr id="54" name="直接箭头连接符 53"/>
            <p:cNvCxnSpPr/>
            <p:nvPr/>
          </p:nvCxnSpPr>
          <p:spPr>
            <a:xfrm>
              <a:off x="1858002" y="2225074"/>
              <a:ext cx="305580" cy="0"/>
            </a:xfrm>
            <a:prstGeom prst="straightConnector1">
              <a:avLst/>
            </a:prstGeom>
            <a:ln w="28575">
              <a:solidFill>
                <a:schemeClr val="bg1">
                  <a:lumMod val="65000"/>
                </a:schemeClr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直接箭头连接符 54"/>
            <p:cNvCxnSpPr/>
            <p:nvPr/>
          </p:nvCxnSpPr>
          <p:spPr>
            <a:xfrm>
              <a:off x="1858002" y="3689221"/>
              <a:ext cx="333512" cy="0"/>
            </a:xfrm>
            <a:prstGeom prst="straightConnector1">
              <a:avLst/>
            </a:prstGeom>
            <a:ln w="28575">
              <a:solidFill>
                <a:schemeClr val="bg1">
                  <a:lumMod val="65000"/>
                </a:schemeClr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直接箭头连接符 55"/>
            <p:cNvCxnSpPr/>
            <p:nvPr/>
          </p:nvCxnSpPr>
          <p:spPr>
            <a:xfrm>
              <a:off x="5629124" y="2982605"/>
              <a:ext cx="448408" cy="0"/>
            </a:xfrm>
            <a:prstGeom prst="straightConnector1">
              <a:avLst/>
            </a:prstGeom>
            <a:ln w="28575">
              <a:solidFill>
                <a:schemeClr val="bg1">
                  <a:lumMod val="65000"/>
                </a:schemeClr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直接箭头连接符 56"/>
            <p:cNvCxnSpPr/>
            <p:nvPr/>
          </p:nvCxnSpPr>
          <p:spPr>
            <a:xfrm>
              <a:off x="7413304" y="2465553"/>
              <a:ext cx="448408" cy="0"/>
            </a:xfrm>
            <a:prstGeom prst="straightConnector1">
              <a:avLst/>
            </a:prstGeom>
            <a:ln w="28575">
              <a:solidFill>
                <a:schemeClr val="bg1">
                  <a:lumMod val="65000"/>
                </a:schemeClr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直接箭头连接符 57"/>
            <p:cNvCxnSpPr/>
            <p:nvPr/>
          </p:nvCxnSpPr>
          <p:spPr>
            <a:xfrm>
              <a:off x="8518342" y="3047522"/>
              <a:ext cx="0" cy="251184"/>
            </a:xfrm>
            <a:prstGeom prst="straightConnector1">
              <a:avLst/>
            </a:prstGeom>
            <a:ln w="28575">
              <a:solidFill>
                <a:schemeClr val="bg1">
                  <a:lumMod val="65000"/>
                </a:schemeClr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矩形 58"/>
            <p:cNvSpPr/>
            <p:nvPr/>
          </p:nvSpPr>
          <p:spPr>
            <a:xfrm>
              <a:off x="515697" y="823046"/>
              <a:ext cx="10785784" cy="680484"/>
            </a:xfrm>
            <a:prstGeom prst="rect">
              <a:avLst/>
            </a:prstGeom>
            <a:gradFill rotWithShape="0">
              <a:gsLst>
                <a:gs pos="100000">
                  <a:srgbClr val="B6C2CE">
                    <a:alpha val="0"/>
                  </a:srgbClr>
                </a:gs>
                <a:gs pos="0">
                  <a:schemeClr val="bg1">
                    <a:lumMod val="75000"/>
                    <a:alpha val="3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003">
              <a:schemeClr val="dk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latin typeface="Noto Sans Medium" panose="020B0602040504020204" pitchFamily="34" charset="0"/>
                <a:cs typeface="Noto Sans Medium" panose="020B0602040504020204" pitchFamily="34" charset="0"/>
              </a:endParaRPr>
            </a:p>
          </p:txBody>
        </p:sp>
        <p:sp>
          <p:nvSpPr>
            <p:cNvPr id="60" name="矩形 59"/>
            <p:cNvSpPr/>
            <p:nvPr/>
          </p:nvSpPr>
          <p:spPr>
            <a:xfrm>
              <a:off x="2290759" y="956550"/>
              <a:ext cx="1521067" cy="413239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100" dirty="0">
                  <a:latin typeface="Noto Sans Medium" panose="020B0602040504020204" pitchFamily="34" charset="0"/>
                  <a:ea typeface="Noto Sans Medium" panose="020B0602040504020204" pitchFamily="34" charset="0"/>
                  <a:cs typeface="Noto Sans Medium" panose="020B0602040504020204" pitchFamily="34" charset="0"/>
                </a:rPr>
                <a:t>Self-service Channel</a:t>
              </a:r>
              <a:endParaRPr lang="zh-CN" altLang="en-US" sz="1100" dirty="0">
                <a:latin typeface="Noto Sans Medium" panose="020B0602040504020204" pitchFamily="34" charset="0"/>
                <a:ea typeface="微软雅黑" panose="020B0503020204020204" charset="-122"/>
                <a:cs typeface="Noto Sans Medium" panose="020B0602040504020204" pitchFamily="34" charset="0"/>
              </a:endParaRPr>
            </a:p>
          </p:txBody>
        </p:sp>
        <p:sp>
          <p:nvSpPr>
            <p:cNvPr id="61" name="矩形 60"/>
            <p:cNvSpPr/>
            <p:nvPr/>
          </p:nvSpPr>
          <p:spPr>
            <a:xfrm>
              <a:off x="4118662" y="956550"/>
              <a:ext cx="1521067" cy="413239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100" dirty="0">
                  <a:latin typeface="Noto Sans Medium" panose="020B0602040504020204" pitchFamily="34" charset="0"/>
                  <a:ea typeface="Noto Sans Medium" panose="020B0602040504020204" pitchFamily="34" charset="0"/>
                  <a:cs typeface="Noto Sans Medium" panose="020B0602040504020204" pitchFamily="34" charset="0"/>
                </a:rPr>
                <a:t>Fault Reporting Channel</a:t>
              </a:r>
              <a:endParaRPr lang="zh-CN" altLang="en-US" sz="1100" dirty="0">
                <a:latin typeface="Noto Sans Medium" panose="020B0602040504020204" pitchFamily="34" charset="0"/>
                <a:ea typeface="微软雅黑" panose="020B0503020204020204" charset="-122"/>
                <a:cs typeface="Noto Sans Medium" panose="020B0602040504020204" pitchFamily="34" charset="0"/>
              </a:endParaRPr>
            </a:p>
          </p:txBody>
        </p:sp>
        <p:sp>
          <p:nvSpPr>
            <p:cNvPr id="62" name="文本框 61"/>
            <p:cNvSpPr txBox="1"/>
            <p:nvPr/>
          </p:nvSpPr>
          <p:spPr>
            <a:xfrm>
              <a:off x="529363" y="1035679"/>
              <a:ext cx="1450731" cy="272560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r>
                <a:rPr kumimoji="1" lang="en-US" altLang="zh-CN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Noto Sans Medium" panose="020B0602040504020204" pitchFamily="34" charset="0"/>
                  <a:ea typeface="Noto Sans Medium" panose="020B0602040504020204" pitchFamily="34" charset="0"/>
                  <a:cs typeface="Noto Sans Medium" panose="020B0602040504020204" pitchFamily="34" charset="0"/>
                </a:rPr>
                <a:t>Online Service</a:t>
              </a:r>
              <a:endParaRPr kumimoji="1" lang="zh-CN" altLang="en-US" sz="1600" i="0" dirty="0">
                <a:solidFill>
                  <a:schemeClr val="tx1">
                    <a:lumMod val="75000"/>
                    <a:lumOff val="25000"/>
                  </a:schemeClr>
                </a:solidFill>
                <a:latin typeface="Noto Sans Medium" panose="020B0602040504020204" pitchFamily="34" charset="0"/>
                <a:ea typeface="微软雅黑" panose="020B0503020204020204" charset="-122"/>
                <a:cs typeface="Noto Sans Medium" panose="020B0602040504020204" pitchFamily="34" charset="0"/>
              </a:endParaRPr>
            </a:p>
          </p:txBody>
        </p:sp>
        <p:sp>
          <p:nvSpPr>
            <p:cNvPr id="63" name="矩形 62"/>
            <p:cNvSpPr/>
            <p:nvPr/>
          </p:nvSpPr>
          <p:spPr>
            <a:xfrm>
              <a:off x="5964384" y="965339"/>
              <a:ext cx="1521067" cy="413239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100" dirty="0">
                  <a:latin typeface="Noto Sans Medium" panose="020B0602040504020204" pitchFamily="34" charset="0"/>
                  <a:ea typeface="Noto Sans Medium" panose="020B0602040504020204" pitchFamily="34" charset="0"/>
                  <a:cs typeface="Noto Sans Medium" panose="020B0602040504020204" pitchFamily="34" charset="0"/>
                </a:rPr>
                <a:t>Problem Handling</a:t>
              </a:r>
              <a:endParaRPr lang="zh-CN" altLang="en-US" sz="1100" dirty="0">
                <a:latin typeface="Noto Sans Medium" panose="020B0602040504020204" pitchFamily="34" charset="0"/>
                <a:ea typeface="微软雅黑" panose="020B0503020204020204" charset="-122"/>
                <a:cs typeface="Noto Sans Medium" panose="020B0602040504020204" pitchFamily="34" charset="0"/>
              </a:endParaRPr>
            </a:p>
          </p:txBody>
        </p:sp>
        <p:sp>
          <p:nvSpPr>
            <p:cNvPr id="64" name="矩形 63"/>
            <p:cNvSpPr/>
            <p:nvPr/>
          </p:nvSpPr>
          <p:spPr>
            <a:xfrm>
              <a:off x="7760948" y="956549"/>
              <a:ext cx="1521067" cy="413239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100" dirty="0">
                  <a:latin typeface="Noto Sans Medium" panose="020B0602040504020204" pitchFamily="34" charset="0"/>
                  <a:ea typeface="Noto Sans Medium" panose="020B0602040504020204" pitchFamily="34" charset="0"/>
                  <a:cs typeface="Noto Sans Medium" panose="020B0602040504020204" pitchFamily="34" charset="0"/>
                </a:rPr>
                <a:t>Problem Escalation</a:t>
              </a:r>
              <a:endParaRPr lang="zh-CN" altLang="en-US" sz="1100" dirty="0">
                <a:latin typeface="Noto Sans Medium" panose="020B0602040504020204" pitchFamily="34" charset="0"/>
                <a:ea typeface="微软雅黑" panose="020B0503020204020204" charset="-122"/>
                <a:cs typeface="Noto Sans Medium" panose="020B0602040504020204" pitchFamily="34" charset="0"/>
              </a:endParaRPr>
            </a:p>
          </p:txBody>
        </p:sp>
        <p:sp>
          <p:nvSpPr>
            <p:cNvPr id="65" name="矩形 64"/>
            <p:cNvSpPr/>
            <p:nvPr/>
          </p:nvSpPr>
          <p:spPr>
            <a:xfrm>
              <a:off x="9584576" y="956548"/>
              <a:ext cx="1521067" cy="413239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100" dirty="0">
                  <a:latin typeface="Noto Sans Medium" panose="020B0602040504020204" pitchFamily="34" charset="0"/>
                  <a:ea typeface="Noto Sans Medium" panose="020B0602040504020204" pitchFamily="34" charset="0"/>
                  <a:cs typeface="Noto Sans Medium" panose="020B0602040504020204" pitchFamily="34" charset="0"/>
                </a:rPr>
                <a:t>Problem Solved</a:t>
              </a:r>
            </a:p>
          </p:txBody>
        </p:sp>
        <p:sp>
          <p:nvSpPr>
            <p:cNvPr id="66" name="矩形 65"/>
            <p:cNvSpPr/>
            <p:nvPr/>
          </p:nvSpPr>
          <p:spPr>
            <a:xfrm>
              <a:off x="743582" y="4672283"/>
              <a:ext cx="10557896" cy="555033"/>
            </a:xfrm>
            <a:prstGeom prst="rect">
              <a:avLst/>
            </a:prstGeom>
            <a:gradFill rotWithShape="0">
              <a:gsLst>
                <a:gs pos="100000">
                  <a:srgbClr val="B6C2CE">
                    <a:alpha val="0"/>
                  </a:srgbClr>
                </a:gs>
                <a:gs pos="0">
                  <a:schemeClr val="bg1">
                    <a:lumMod val="75000"/>
                    <a:alpha val="3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003">
              <a:schemeClr val="dk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latin typeface="Noto Sans Medium" panose="020B0602040504020204" pitchFamily="34" charset="0"/>
                <a:cs typeface="Noto Sans Medium" panose="020B0602040504020204" pitchFamily="34" charset="0"/>
              </a:endParaRPr>
            </a:p>
          </p:txBody>
        </p:sp>
        <p:sp>
          <p:nvSpPr>
            <p:cNvPr id="67" name="矩形 66"/>
            <p:cNvSpPr/>
            <p:nvPr/>
          </p:nvSpPr>
          <p:spPr>
            <a:xfrm>
              <a:off x="743582" y="5371643"/>
              <a:ext cx="10557899" cy="402716"/>
            </a:xfrm>
            <a:prstGeom prst="rect">
              <a:avLst/>
            </a:prstGeom>
            <a:gradFill rotWithShape="0">
              <a:gsLst>
                <a:gs pos="100000">
                  <a:srgbClr val="B6C2CE">
                    <a:alpha val="0"/>
                  </a:srgbClr>
                </a:gs>
                <a:gs pos="0">
                  <a:schemeClr val="bg1">
                    <a:lumMod val="75000"/>
                    <a:alpha val="34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003">
              <a:schemeClr val="dk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380"/>
                </a:spcBef>
              </a:pPr>
              <a:r>
                <a:rPr lang="en-US" altLang="zh-CN" sz="1500" spc="37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oto Sans Medium" panose="020B0602040504020204" pitchFamily="34" charset="0"/>
                  <a:ea typeface="Noto Sans Medium" panose="020B0602040504020204" pitchFamily="34" charset="0"/>
                  <a:cs typeface="Noto Sans Medium" panose="020B0602040504020204" pitchFamily="34" charset="0"/>
                </a:rPr>
                <a:t>Multiple platforms help you access </a:t>
              </a:r>
              <a:r>
                <a:rPr lang="en-US" altLang="zh-CN" sz="1500" spc="37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Noto Sans Medium" panose="020B0602040504020204" pitchFamily="34" charset="0"/>
                  <a:ea typeface="Noto Sans Medium" panose="020B0602040504020204" pitchFamily="34" charset="0"/>
                  <a:cs typeface="Noto Sans Medium" panose="020B0602040504020204" pitchFamily="34" charset="0"/>
                </a:rPr>
                <a:t>Ruijie</a:t>
              </a:r>
              <a:r>
                <a:rPr lang="en-US" altLang="zh-CN" sz="1500" spc="37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Noto Sans Medium" panose="020B0602040504020204" pitchFamily="34" charset="0"/>
                  <a:ea typeface="Noto Sans Medium" panose="020B0602040504020204" pitchFamily="34" charset="0"/>
                  <a:cs typeface="Noto Sans Medium" panose="020B0602040504020204" pitchFamily="34" charset="0"/>
                </a:rPr>
                <a:t> technical support</a:t>
              </a:r>
              <a:endParaRPr lang="zh-CN" altLang="en-US" sz="1500" dirty="0">
                <a:solidFill>
                  <a:schemeClr val="accent6"/>
                </a:solidFill>
                <a:latin typeface="Noto Sans Medium" panose="020B0602040504020204" pitchFamily="34" charset="0"/>
                <a:cs typeface="Noto Sans Medium" panose="020B0602040504020204" pitchFamily="34" charset="0"/>
              </a:endParaRPr>
            </a:p>
          </p:txBody>
        </p:sp>
        <p:sp>
          <p:nvSpPr>
            <p:cNvPr id="68" name="圆角矩形 67"/>
            <p:cNvSpPr/>
            <p:nvPr/>
          </p:nvSpPr>
          <p:spPr>
            <a:xfrm>
              <a:off x="2059880" y="1594730"/>
              <a:ext cx="1839139" cy="2909300"/>
            </a:xfrm>
            <a:prstGeom prst="roundRect">
              <a:avLst>
                <a:gd name="adj" fmla="val 5005"/>
              </a:avLst>
            </a:prstGeom>
            <a:gradFill flip="none" rotWithShape="1">
              <a:gsLst>
                <a:gs pos="100000">
                  <a:srgbClr val="B6C2CE">
                    <a:alpha val="0"/>
                  </a:srgbClr>
                </a:gs>
                <a:gs pos="0">
                  <a:schemeClr val="bg1">
                    <a:lumMod val="75000"/>
                    <a:alpha val="34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003">
              <a:schemeClr val="dk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latin typeface="Noto Sans Medium" panose="020B0602040504020204" pitchFamily="34" charset="0"/>
                <a:cs typeface="Noto Sans Medium" panose="020B0602040504020204" pitchFamily="34" charset="0"/>
              </a:endParaRPr>
            </a:p>
          </p:txBody>
        </p:sp>
        <p:sp>
          <p:nvSpPr>
            <p:cNvPr id="69" name="圆角矩形 68"/>
            <p:cNvSpPr/>
            <p:nvPr/>
          </p:nvSpPr>
          <p:spPr>
            <a:xfrm>
              <a:off x="3989020" y="1594730"/>
              <a:ext cx="1793441" cy="2909300"/>
            </a:xfrm>
            <a:prstGeom prst="roundRect">
              <a:avLst>
                <a:gd name="adj" fmla="val 5005"/>
              </a:avLst>
            </a:prstGeom>
            <a:gradFill flip="none" rotWithShape="1">
              <a:gsLst>
                <a:gs pos="100000">
                  <a:srgbClr val="B6C2CE">
                    <a:alpha val="0"/>
                  </a:srgbClr>
                </a:gs>
                <a:gs pos="0">
                  <a:schemeClr val="bg1">
                    <a:lumMod val="75000"/>
                    <a:alpha val="34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003">
              <a:schemeClr val="dk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latin typeface="Noto Sans Medium" panose="020B0602040504020204" pitchFamily="34" charset="0"/>
                <a:cs typeface="Noto Sans Medium" panose="020B0602040504020204" pitchFamily="34" charset="0"/>
              </a:endParaRPr>
            </a:p>
          </p:txBody>
        </p:sp>
        <p:sp>
          <p:nvSpPr>
            <p:cNvPr id="70" name="圆角矩形 69"/>
            <p:cNvSpPr/>
            <p:nvPr/>
          </p:nvSpPr>
          <p:spPr>
            <a:xfrm>
              <a:off x="5872886" y="1594730"/>
              <a:ext cx="1729251" cy="2909300"/>
            </a:xfrm>
            <a:prstGeom prst="roundRect">
              <a:avLst>
                <a:gd name="adj" fmla="val 5005"/>
              </a:avLst>
            </a:prstGeom>
            <a:gradFill flip="none" rotWithShape="1">
              <a:gsLst>
                <a:gs pos="100000">
                  <a:srgbClr val="B6C2CE">
                    <a:alpha val="0"/>
                  </a:srgbClr>
                </a:gs>
                <a:gs pos="0">
                  <a:schemeClr val="bg1">
                    <a:lumMod val="75000"/>
                    <a:alpha val="34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003">
              <a:schemeClr val="dk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latin typeface="Noto Sans Medium" panose="020B0602040504020204" pitchFamily="34" charset="0"/>
                <a:cs typeface="Noto Sans Medium" panose="020B0602040504020204" pitchFamily="34" charset="0"/>
              </a:endParaRPr>
            </a:p>
          </p:txBody>
        </p:sp>
        <p:sp>
          <p:nvSpPr>
            <p:cNvPr id="71" name="圆角矩形 70"/>
            <p:cNvSpPr/>
            <p:nvPr/>
          </p:nvSpPr>
          <p:spPr>
            <a:xfrm>
              <a:off x="7692563" y="1594730"/>
              <a:ext cx="1729251" cy="2909300"/>
            </a:xfrm>
            <a:prstGeom prst="roundRect">
              <a:avLst>
                <a:gd name="adj" fmla="val 5005"/>
              </a:avLst>
            </a:prstGeom>
            <a:gradFill flip="none" rotWithShape="1">
              <a:gsLst>
                <a:gs pos="100000">
                  <a:srgbClr val="B6C2CE">
                    <a:alpha val="0"/>
                  </a:srgbClr>
                </a:gs>
                <a:gs pos="0">
                  <a:schemeClr val="bg1">
                    <a:lumMod val="75000"/>
                    <a:alpha val="34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003">
              <a:schemeClr val="dk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latin typeface="Noto Sans Medium" panose="020B0602040504020204" pitchFamily="34" charset="0"/>
                <a:cs typeface="Noto Sans Medium" panose="020B0602040504020204" pitchFamily="34" charset="0"/>
              </a:endParaRPr>
            </a:p>
          </p:txBody>
        </p:sp>
        <p:sp>
          <p:nvSpPr>
            <p:cNvPr id="72" name="圆角矩形 71"/>
            <p:cNvSpPr/>
            <p:nvPr/>
          </p:nvSpPr>
          <p:spPr>
            <a:xfrm>
              <a:off x="9501304" y="1564379"/>
              <a:ext cx="1729251" cy="2909300"/>
            </a:xfrm>
            <a:prstGeom prst="roundRect">
              <a:avLst>
                <a:gd name="adj" fmla="val 5005"/>
              </a:avLst>
            </a:prstGeom>
            <a:gradFill flip="none" rotWithShape="1">
              <a:gsLst>
                <a:gs pos="100000">
                  <a:srgbClr val="B6C2CE">
                    <a:alpha val="0"/>
                  </a:srgbClr>
                </a:gs>
                <a:gs pos="0">
                  <a:schemeClr val="bg1">
                    <a:lumMod val="75000"/>
                    <a:alpha val="34000"/>
                  </a:schemeClr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003">
              <a:schemeClr val="dk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zh-CN" altLang="en-US">
                <a:latin typeface="Noto Sans Medium" panose="020B0602040504020204" pitchFamily="34" charset="0"/>
                <a:cs typeface="Noto Sans Medium" panose="020B0602040504020204" pitchFamily="34" charset="0"/>
              </a:endParaRPr>
            </a:p>
          </p:txBody>
        </p:sp>
        <p:sp>
          <p:nvSpPr>
            <p:cNvPr id="73" name="文本框 72"/>
            <p:cNvSpPr txBox="1"/>
            <p:nvPr/>
          </p:nvSpPr>
          <p:spPr>
            <a:xfrm>
              <a:off x="5990462" y="1621984"/>
              <a:ext cx="1450308" cy="302754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r>
                <a:rPr kumimoji="1" lang="en-US" altLang="zh-CN" sz="1100" dirty="0">
                  <a:solidFill>
                    <a:srgbClr val="5F96C3"/>
                  </a:solidFill>
                  <a:latin typeface="Noto Sans Medium" panose="020B0602040504020204" pitchFamily="34" charset="0"/>
                  <a:ea typeface="Noto Sans Medium" panose="020B0602040504020204" pitchFamily="34" charset="0"/>
                  <a:cs typeface="Noto Sans Medium" panose="020B0602040504020204" pitchFamily="34" charset="0"/>
                </a:rPr>
                <a:t>Level1</a:t>
              </a:r>
              <a:r>
                <a:rPr kumimoji="1" lang="zh-CN" altLang="en-US" sz="1100" dirty="0">
                  <a:solidFill>
                    <a:srgbClr val="5F96C3"/>
                  </a:solidFill>
                  <a:latin typeface="Noto Sans Medium" panose="020B0602040504020204" pitchFamily="34" charset="0"/>
                  <a:ea typeface="微软雅黑" panose="020B0503020204020204" charset="-122"/>
                  <a:cs typeface="Noto Sans Medium" panose="020B0602040504020204" pitchFamily="34" charset="0"/>
                </a:rPr>
                <a:t> </a:t>
              </a:r>
              <a:r>
                <a:rPr kumimoji="1" lang="en-US" altLang="zh-CN" sz="1100" dirty="0">
                  <a:solidFill>
                    <a:srgbClr val="5F96C3"/>
                  </a:solidFill>
                  <a:latin typeface="Noto Sans Medium" panose="020B0602040504020204" pitchFamily="34" charset="0"/>
                  <a:ea typeface="Noto Sans Medium" panose="020B0602040504020204" pitchFamily="34" charset="0"/>
                  <a:cs typeface="Noto Sans Medium" panose="020B0602040504020204" pitchFamily="34" charset="0"/>
                </a:rPr>
                <a:t>Support</a:t>
              </a:r>
              <a:endParaRPr kumimoji="1" lang="zh-CN" altLang="en-US" sz="1100" i="0" dirty="0">
                <a:solidFill>
                  <a:srgbClr val="5F96C3"/>
                </a:solidFill>
                <a:latin typeface="Noto Sans Medium" panose="020B0602040504020204" pitchFamily="34" charset="0"/>
                <a:ea typeface="微软雅黑" panose="020B0503020204020204" charset="-122"/>
                <a:cs typeface="Noto Sans Medium" panose="020B0602040504020204" pitchFamily="34" charset="0"/>
              </a:endParaRPr>
            </a:p>
          </p:txBody>
        </p:sp>
        <p:sp>
          <p:nvSpPr>
            <p:cNvPr id="74" name="圆角矩形 73"/>
            <p:cNvSpPr/>
            <p:nvPr/>
          </p:nvSpPr>
          <p:spPr>
            <a:xfrm>
              <a:off x="6127552" y="1951992"/>
              <a:ext cx="1186321" cy="513561"/>
            </a:xfrm>
            <a:prstGeom prst="roundRect">
              <a:avLst>
                <a:gd name="adj" fmla="val 12321"/>
              </a:avLst>
            </a:prstGeom>
            <a:solidFill>
              <a:srgbClr val="9FA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000" dirty="0">
                  <a:latin typeface="Noto Sans Medium" panose="020B0602040504020204" pitchFamily="34" charset="0"/>
                  <a:ea typeface="Noto Sans Medium" panose="020B0602040504020204" pitchFamily="34" charset="0"/>
                  <a:cs typeface="Noto Sans Medium" panose="020B0602040504020204" pitchFamily="34" charset="0"/>
                </a:rPr>
                <a:t>Fault Acceptance</a:t>
              </a:r>
              <a:endParaRPr lang="zh-CN" altLang="en-US" sz="1000" dirty="0">
                <a:latin typeface="Noto Sans Medium" panose="020B0602040504020204" pitchFamily="34" charset="0"/>
                <a:ea typeface="微软雅黑" panose="020B0503020204020204" charset="-122"/>
                <a:cs typeface="Noto Sans Medium" panose="020B0602040504020204" pitchFamily="34" charset="0"/>
              </a:endParaRPr>
            </a:p>
          </p:txBody>
        </p:sp>
        <p:sp>
          <p:nvSpPr>
            <p:cNvPr id="75" name="圆角矩形 74"/>
            <p:cNvSpPr/>
            <p:nvPr/>
          </p:nvSpPr>
          <p:spPr>
            <a:xfrm>
              <a:off x="6130838" y="2542193"/>
              <a:ext cx="1186321" cy="513561"/>
            </a:xfrm>
            <a:prstGeom prst="roundRect">
              <a:avLst>
                <a:gd name="adj" fmla="val 12321"/>
              </a:avLst>
            </a:prstGeom>
            <a:solidFill>
              <a:srgbClr val="9FA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000" dirty="0">
                  <a:latin typeface="Noto Sans Medium" panose="020B0602040504020204" pitchFamily="34" charset="0"/>
                  <a:ea typeface="Noto Sans Medium" panose="020B0602040504020204" pitchFamily="34" charset="0"/>
                  <a:cs typeface="Noto Sans Medium" panose="020B0602040504020204" pitchFamily="34" charset="0"/>
                </a:rPr>
                <a:t>Technical Consultation</a:t>
              </a:r>
              <a:endParaRPr lang="zh-CN" altLang="en-US" sz="1000" dirty="0">
                <a:latin typeface="Noto Sans Medium" panose="020B0602040504020204" pitchFamily="34" charset="0"/>
                <a:ea typeface="微软雅黑" panose="020B0503020204020204" charset="-122"/>
                <a:cs typeface="Noto Sans Medium" panose="020B0602040504020204" pitchFamily="34" charset="0"/>
              </a:endParaRPr>
            </a:p>
          </p:txBody>
        </p:sp>
        <p:sp>
          <p:nvSpPr>
            <p:cNvPr id="76" name="圆角矩形 75"/>
            <p:cNvSpPr/>
            <p:nvPr/>
          </p:nvSpPr>
          <p:spPr>
            <a:xfrm>
              <a:off x="6124941" y="3134663"/>
              <a:ext cx="1186321" cy="513561"/>
            </a:xfrm>
            <a:prstGeom prst="roundRect">
              <a:avLst>
                <a:gd name="adj" fmla="val 12321"/>
              </a:avLst>
            </a:prstGeom>
            <a:solidFill>
              <a:srgbClr val="9FA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000" dirty="0">
                  <a:latin typeface="Noto Sans Medium" panose="020B0602040504020204" pitchFamily="34" charset="0"/>
                  <a:ea typeface="Noto Sans Medium" panose="020B0602040504020204" pitchFamily="34" charset="0"/>
                  <a:cs typeface="Noto Sans Medium" panose="020B0602040504020204" pitchFamily="34" charset="0"/>
                </a:rPr>
                <a:t>Service Arrangement</a:t>
              </a:r>
              <a:endParaRPr lang="zh-CN" altLang="en-US" sz="1000" dirty="0">
                <a:latin typeface="Noto Sans Medium" panose="020B0602040504020204" pitchFamily="34" charset="0"/>
                <a:ea typeface="微软雅黑" panose="020B0503020204020204" charset="-122"/>
                <a:cs typeface="Noto Sans Medium" panose="020B0602040504020204" pitchFamily="34" charset="0"/>
              </a:endParaRPr>
            </a:p>
          </p:txBody>
        </p:sp>
        <p:sp>
          <p:nvSpPr>
            <p:cNvPr id="77" name="圆角矩形 76"/>
            <p:cNvSpPr/>
            <p:nvPr/>
          </p:nvSpPr>
          <p:spPr>
            <a:xfrm>
              <a:off x="6124941" y="3734804"/>
              <a:ext cx="1186321" cy="637142"/>
            </a:xfrm>
            <a:prstGeom prst="roundRect">
              <a:avLst>
                <a:gd name="adj" fmla="val 12321"/>
              </a:avLst>
            </a:prstGeom>
            <a:solidFill>
              <a:srgbClr val="9FA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000" dirty="0">
                  <a:latin typeface="Noto Sans Medium" panose="020B0602040504020204" pitchFamily="34" charset="0"/>
                  <a:ea typeface="Noto Sans Medium" panose="020B0602040504020204" pitchFamily="34" charset="0"/>
                  <a:cs typeface="Noto Sans Medium" panose="020B0602040504020204" pitchFamily="34" charset="0"/>
                </a:rPr>
                <a:t>Repair/Spare Parts Acceptance</a:t>
              </a:r>
              <a:endParaRPr lang="zh-CN" altLang="en-US" sz="1000" dirty="0">
                <a:latin typeface="Noto Sans Medium" panose="020B0602040504020204" pitchFamily="34" charset="0"/>
                <a:ea typeface="微软雅黑" panose="020B0503020204020204" charset="-122"/>
                <a:cs typeface="Noto Sans Medium" panose="020B0602040504020204" pitchFamily="34" charset="0"/>
              </a:endParaRPr>
            </a:p>
          </p:txBody>
        </p:sp>
        <p:sp>
          <p:nvSpPr>
            <p:cNvPr id="78" name="圆角矩形 77"/>
            <p:cNvSpPr/>
            <p:nvPr/>
          </p:nvSpPr>
          <p:spPr>
            <a:xfrm>
              <a:off x="7941971" y="1951992"/>
              <a:ext cx="1186321" cy="310773"/>
            </a:xfrm>
            <a:prstGeom prst="roundRect">
              <a:avLst>
                <a:gd name="adj" fmla="val 12321"/>
              </a:avLst>
            </a:prstGeom>
            <a:solidFill>
              <a:srgbClr val="9FA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000" dirty="0">
                  <a:latin typeface="Noto Sans Medium" panose="020B0602040504020204" pitchFamily="34" charset="0"/>
                  <a:ea typeface="Noto Sans Medium" panose="020B0602040504020204" pitchFamily="34" charset="0"/>
                  <a:cs typeface="Noto Sans Medium" panose="020B0602040504020204" pitchFamily="34" charset="0"/>
                </a:rPr>
                <a:t>L2 Specialist</a:t>
              </a:r>
              <a:endParaRPr lang="zh-CN" altLang="en-US" sz="1000" dirty="0">
                <a:latin typeface="Noto Sans Medium" panose="020B0602040504020204" pitchFamily="34" charset="0"/>
                <a:ea typeface="微软雅黑" panose="020B0503020204020204" charset="-122"/>
                <a:cs typeface="Noto Sans Medium" panose="020B0602040504020204" pitchFamily="34" charset="0"/>
              </a:endParaRPr>
            </a:p>
          </p:txBody>
        </p:sp>
        <p:sp>
          <p:nvSpPr>
            <p:cNvPr id="79" name="圆角矩形 78"/>
            <p:cNvSpPr/>
            <p:nvPr/>
          </p:nvSpPr>
          <p:spPr>
            <a:xfrm>
              <a:off x="7930092" y="2465007"/>
              <a:ext cx="1186321" cy="310773"/>
            </a:xfrm>
            <a:prstGeom prst="roundRect">
              <a:avLst>
                <a:gd name="adj" fmla="val 12321"/>
              </a:avLst>
            </a:prstGeom>
            <a:solidFill>
              <a:srgbClr val="9FA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000" dirty="0">
                  <a:latin typeface="Noto Sans Medium" panose="020B0602040504020204" pitchFamily="34" charset="0"/>
                  <a:ea typeface="Noto Sans Medium" panose="020B0602040504020204" pitchFamily="34" charset="0"/>
                  <a:cs typeface="Noto Sans Medium" panose="020B0602040504020204" pitchFamily="34" charset="0"/>
                </a:rPr>
                <a:t>VIP Service</a:t>
              </a:r>
              <a:endParaRPr lang="zh-CN" altLang="en-US" sz="1000" dirty="0">
                <a:latin typeface="Noto Sans Medium" panose="020B0602040504020204" pitchFamily="34" charset="0"/>
                <a:ea typeface="微软雅黑" panose="020B0503020204020204" charset="-122"/>
                <a:cs typeface="Noto Sans Medium" panose="020B0602040504020204" pitchFamily="34" charset="0"/>
              </a:endParaRPr>
            </a:p>
          </p:txBody>
        </p:sp>
        <p:sp>
          <p:nvSpPr>
            <p:cNvPr id="80" name="文本框 79"/>
            <p:cNvSpPr txBox="1"/>
            <p:nvPr/>
          </p:nvSpPr>
          <p:spPr>
            <a:xfrm>
              <a:off x="7761157" y="1621984"/>
              <a:ext cx="1450308" cy="302754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r>
                <a:rPr kumimoji="1" lang="en-US" altLang="zh-CN" sz="1100" dirty="0">
                  <a:solidFill>
                    <a:srgbClr val="5F96C3"/>
                  </a:solidFill>
                  <a:latin typeface="Noto Sans Medium" panose="020B0602040504020204" pitchFamily="34" charset="0"/>
                  <a:ea typeface="Noto Sans Medium" panose="020B0602040504020204" pitchFamily="34" charset="0"/>
                  <a:cs typeface="Noto Sans Medium" panose="020B0602040504020204" pitchFamily="34" charset="0"/>
                </a:rPr>
                <a:t>Level2</a:t>
              </a:r>
              <a:r>
                <a:rPr kumimoji="1" lang="zh-CN" altLang="en-US" sz="1100" dirty="0">
                  <a:solidFill>
                    <a:srgbClr val="5F96C3"/>
                  </a:solidFill>
                  <a:latin typeface="Noto Sans Medium" panose="020B0602040504020204" pitchFamily="34" charset="0"/>
                  <a:ea typeface="微软雅黑" panose="020B0503020204020204" charset="-122"/>
                  <a:cs typeface="Noto Sans Medium" panose="020B0602040504020204" pitchFamily="34" charset="0"/>
                </a:rPr>
                <a:t> </a:t>
              </a:r>
              <a:r>
                <a:rPr kumimoji="1" lang="en-US" altLang="zh-CN" sz="1100" dirty="0">
                  <a:solidFill>
                    <a:srgbClr val="5F96C3"/>
                  </a:solidFill>
                  <a:latin typeface="Noto Sans Medium" panose="020B0602040504020204" pitchFamily="34" charset="0"/>
                  <a:ea typeface="Noto Sans Medium" panose="020B0602040504020204" pitchFamily="34" charset="0"/>
                  <a:cs typeface="Noto Sans Medium" panose="020B0602040504020204" pitchFamily="34" charset="0"/>
                </a:rPr>
                <a:t>Support</a:t>
              </a:r>
              <a:endParaRPr kumimoji="1" lang="zh-CN" altLang="en-US" sz="1100" i="0" dirty="0">
                <a:solidFill>
                  <a:srgbClr val="5F96C3"/>
                </a:solidFill>
                <a:latin typeface="Noto Sans Medium" panose="020B0602040504020204" pitchFamily="34" charset="0"/>
                <a:ea typeface="微软雅黑" panose="020B0503020204020204" charset="-122"/>
                <a:cs typeface="Noto Sans Medium" panose="020B0602040504020204" pitchFamily="34" charset="0"/>
              </a:endParaRPr>
            </a:p>
          </p:txBody>
        </p:sp>
        <p:sp>
          <p:nvSpPr>
            <p:cNvPr id="81" name="文本框 80"/>
            <p:cNvSpPr txBox="1"/>
            <p:nvPr/>
          </p:nvSpPr>
          <p:spPr>
            <a:xfrm>
              <a:off x="7776823" y="3407040"/>
              <a:ext cx="1450308" cy="302754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/>
              <a:r>
                <a:rPr kumimoji="1" lang="en-US" altLang="zh-CN" sz="1100" dirty="0">
                  <a:solidFill>
                    <a:srgbClr val="5F96C3"/>
                  </a:solidFill>
                  <a:latin typeface="Noto Sans Medium" panose="020B0602040504020204" pitchFamily="34" charset="0"/>
                  <a:ea typeface="Noto Sans Medium" panose="020B0602040504020204" pitchFamily="34" charset="0"/>
                  <a:cs typeface="Noto Sans Medium" panose="020B0602040504020204" pitchFamily="34" charset="0"/>
                </a:rPr>
                <a:t>Level3</a:t>
              </a:r>
              <a:r>
                <a:rPr kumimoji="1" lang="zh-CN" altLang="en-US" sz="1100" dirty="0">
                  <a:solidFill>
                    <a:srgbClr val="5F96C3"/>
                  </a:solidFill>
                  <a:latin typeface="Noto Sans Medium" panose="020B0602040504020204" pitchFamily="34" charset="0"/>
                  <a:ea typeface="微软雅黑" panose="020B0503020204020204" charset="-122"/>
                  <a:cs typeface="Noto Sans Medium" panose="020B0602040504020204" pitchFamily="34" charset="0"/>
                </a:rPr>
                <a:t> </a:t>
              </a:r>
              <a:r>
                <a:rPr kumimoji="1" lang="en-US" altLang="zh-CN" sz="1100" dirty="0">
                  <a:solidFill>
                    <a:srgbClr val="5F96C3"/>
                  </a:solidFill>
                  <a:latin typeface="Noto Sans Medium" panose="020B0602040504020204" pitchFamily="34" charset="0"/>
                  <a:ea typeface="Noto Sans Medium" panose="020B0602040504020204" pitchFamily="34" charset="0"/>
                  <a:cs typeface="Noto Sans Medium" panose="020B0602040504020204" pitchFamily="34" charset="0"/>
                </a:rPr>
                <a:t>Support</a:t>
              </a:r>
              <a:endParaRPr kumimoji="1" lang="zh-CN" altLang="en-US" sz="1100" i="0" dirty="0">
                <a:solidFill>
                  <a:srgbClr val="5F96C3"/>
                </a:solidFill>
                <a:latin typeface="Noto Sans Medium" panose="020B0602040504020204" pitchFamily="34" charset="0"/>
                <a:ea typeface="微软雅黑" panose="020B0503020204020204" charset="-122"/>
                <a:cs typeface="Noto Sans Medium" panose="020B0602040504020204" pitchFamily="34" charset="0"/>
              </a:endParaRPr>
            </a:p>
          </p:txBody>
        </p:sp>
        <p:sp>
          <p:nvSpPr>
            <p:cNvPr id="82" name="圆角矩形 81"/>
            <p:cNvSpPr/>
            <p:nvPr/>
          </p:nvSpPr>
          <p:spPr>
            <a:xfrm>
              <a:off x="7919673" y="3741950"/>
              <a:ext cx="1186321" cy="310773"/>
            </a:xfrm>
            <a:prstGeom prst="roundRect">
              <a:avLst>
                <a:gd name="adj" fmla="val 12321"/>
              </a:avLst>
            </a:prstGeom>
            <a:solidFill>
              <a:srgbClr val="9FA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000" dirty="0">
                  <a:latin typeface="Noto Sans Medium" panose="020B0602040504020204" pitchFamily="34" charset="0"/>
                  <a:ea typeface="Noto Sans Medium" panose="020B0602040504020204" pitchFamily="34" charset="0"/>
                  <a:cs typeface="Noto Sans Medium" panose="020B0602040504020204" pitchFamily="34" charset="0"/>
                </a:rPr>
                <a:t>R&amp;D</a:t>
              </a:r>
              <a:endParaRPr lang="zh-CN" altLang="en-US" sz="1000" dirty="0">
                <a:latin typeface="Noto Sans Medium" panose="020B0602040504020204" pitchFamily="34" charset="0"/>
                <a:ea typeface="微软雅黑" panose="020B0503020204020204" charset="-122"/>
                <a:cs typeface="Noto Sans Medium" panose="020B0602040504020204" pitchFamily="34" charset="0"/>
              </a:endParaRPr>
            </a:p>
          </p:txBody>
        </p:sp>
        <p:sp>
          <p:nvSpPr>
            <p:cNvPr id="83" name="圆角矩形 82"/>
            <p:cNvSpPr/>
            <p:nvPr/>
          </p:nvSpPr>
          <p:spPr>
            <a:xfrm>
              <a:off x="9760118" y="1722529"/>
              <a:ext cx="1186321" cy="454844"/>
            </a:xfrm>
            <a:prstGeom prst="roundRect">
              <a:avLst>
                <a:gd name="adj" fmla="val 12321"/>
              </a:avLst>
            </a:prstGeom>
            <a:solidFill>
              <a:srgbClr val="9FA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000" dirty="0">
                  <a:latin typeface="Noto Sans Medium" panose="020B0602040504020204" pitchFamily="34" charset="0"/>
                  <a:ea typeface="Noto Sans Medium" panose="020B0602040504020204" pitchFamily="34" charset="0"/>
                  <a:cs typeface="Noto Sans Medium" panose="020B0602040504020204" pitchFamily="34" charset="0"/>
                </a:rPr>
                <a:t>Visual Monitoring</a:t>
              </a:r>
              <a:endParaRPr lang="zh-CN" altLang="en-US" sz="1000" dirty="0">
                <a:latin typeface="Noto Sans Medium" panose="020B0602040504020204" pitchFamily="34" charset="0"/>
                <a:ea typeface="微软雅黑" panose="020B0503020204020204" charset="-122"/>
                <a:cs typeface="Noto Sans Medium" panose="020B0602040504020204" pitchFamily="34" charset="0"/>
              </a:endParaRPr>
            </a:p>
          </p:txBody>
        </p:sp>
        <p:sp>
          <p:nvSpPr>
            <p:cNvPr id="84" name="圆角矩形 83"/>
            <p:cNvSpPr/>
            <p:nvPr/>
          </p:nvSpPr>
          <p:spPr>
            <a:xfrm>
              <a:off x="9763404" y="2317185"/>
              <a:ext cx="1186321" cy="450389"/>
            </a:xfrm>
            <a:prstGeom prst="roundRect">
              <a:avLst>
                <a:gd name="adj" fmla="val 12321"/>
              </a:avLst>
            </a:prstGeom>
            <a:solidFill>
              <a:srgbClr val="9FA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000" dirty="0">
                  <a:latin typeface="Noto Sans Medium" panose="020B0602040504020204" pitchFamily="34" charset="0"/>
                  <a:ea typeface="Noto Sans Medium" panose="020B0602040504020204" pitchFamily="34" charset="0"/>
                  <a:cs typeface="Noto Sans Medium" panose="020B0602040504020204" pitchFamily="34" charset="0"/>
                </a:rPr>
                <a:t>Satisfaction Survey</a:t>
              </a:r>
              <a:endParaRPr lang="zh-CN" altLang="en-US" sz="1000" dirty="0">
                <a:latin typeface="Noto Sans Medium" panose="020B0602040504020204" pitchFamily="34" charset="0"/>
                <a:ea typeface="微软雅黑" panose="020B0503020204020204" charset="-122"/>
                <a:cs typeface="Noto Sans Medium" panose="020B0602040504020204" pitchFamily="34" charset="0"/>
              </a:endParaRPr>
            </a:p>
          </p:txBody>
        </p:sp>
        <p:sp>
          <p:nvSpPr>
            <p:cNvPr id="85" name="圆角矩形 84"/>
            <p:cNvSpPr/>
            <p:nvPr/>
          </p:nvSpPr>
          <p:spPr>
            <a:xfrm>
              <a:off x="9757507" y="2902356"/>
              <a:ext cx="1186321" cy="462964"/>
            </a:xfrm>
            <a:prstGeom prst="roundRect">
              <a:avLst>
                <a:gd name="adj" fmla="val 12321"/>
              </a:avLst>
            </a:prstGeom>
            <a:solidFill>
              <a:srgbClr val="9FA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000" dirty="0">
                  <a:latin typeface="Noto Sans Medium" panose="020B0602040504020204" pitchFamily="34" charset="0"/>
                  <a:ea typeface="Noto Sans Medium" panose="020B0602040504020204" pitchFamily="34" charset="0"/>
                  <a:cs typeface="Noto Sans Medium" panose="020B0602040504020204" pitchFamily="34" charset="0"/>
                </a:rPr>
                <a:t>Satisfaction Follow-up</a:t>
              </a:r>
              <a:endParaRPr lang="zh-CN" altLang="en-US" sz="1000" dirty="0">
                <a:latin typeface="Noto Sans Medium" panose="020B0602040504020204" pitchFamily="34" charset="0"/>
                <a:ea typeface="微软雅黑" panose="020B0503020204020204" charset="-122"/>
                <a:cs typeface="Noto Sans Medium" panose="020B0602040504020204" pitchFamily="34" charset="0"/>
              </a:endParaRPr>
            </a:p>
          </p:txBody>
        </p:sp>
        <p:sp>
          <p:nvSpPr>
            <p:cNvPr id="86" name="圆角矩形 85"/>
            <p:cNvSpPr/>
            <p:nvPr/>
          </p:nvSpPr>
          <p:spPr>
            <a:xfrm>
              <a:off x="9757507" y="3494042"/>
              <a:ext cx="1186321" cy="829062"/>
            </a:xfrm>
            <a:prstGeom prst="roundRect">
              <a:avLst>
                <a:gd name="adj" fmla="val 12321"/>
              </a:avLst>
            </a:prstGeom>
            <a:solidFill>
              <a:srgbClr val="9FA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000" dirty="0">
                  <a:latin typeface="Noto Sans Medium" panose="020B0602040504020204" pitchFamily="34" charset="0"/>
                  <a:ea typeface="Noto Sans Medium" panose="020B0602040504020204" pitchFamily="34" charset="0"/>
                  <a:cs typeface="Noto Sans Medium" panose="020B0602040504020204" pitchFamily="34" charset="0"/>
                </a:rPr>
                <a:t>Feedback and Suggestion Analysis</a:t>
              </a:r>
              <a:endParaRPr lang="zh-CN" altLang="en-US" sz="1000" dirty="0">
                <a:latin typeface="Noto Sans Medium" panose="020B0602040504020204" pitchFamily="34" charset="0"/>
                <a:ea typeface="微软雅黑" panose="020B0503020204020204" charset="-122"/>
                <a:cs typeface="Noto Sans Medium" panose="020B0602040504020204" pitchFamily="34" charset="0"/>
              </a:endParaRPr>
            </a:p>
          </p:txBody>
        </p:sp>
        <p:sp>
          <p:nvSpPr>
            <p:cNvPr id="87" name="圆角矩形 86"/>
            <p:cNvSpPr/>
            <p:nvPr/>
          </p:nvSpPr>
          <p:spPr>
            <a:xfrm>
              <a:off x="921480" y="4806782"/>
              <a:ext cx="1767183" cy="310773"/>
            </a:xfrm>
            <a:prstGeom prst="roundRect">
              <a:avLst>
                <a:gd name="adj" fmla="val 12321"/>
              </a:avLst>
            </a:prstGeom>
            <a:solidFill>
              <a:srgbClr val="9FA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dirty="0">
                  <a:latin typeface="Noto Sans Medium" panose="020B0602040504020204" pitchFamily="34" charset="0"/>
                  <a:ea typeface="Noto Sans Medium" panose="020B0602040504020204" pitchFamily="34" charset="0"/>
                  <a:cs typeface="Noto Sans Medium" panose="020B0602040504020204" pitchFamily="34" charset="0"/>
                </a:rPr>
                <a:t>Visualized Process</a:t>
              </a:r>
              <a:endParaRPr lang="zh-CN" altLang="en-US" sz="1200" dirty="0">
                <a:latin typeface="Noto Sans Medium" panose="020B0602040504020204" pitchFamily="34" charset="0"/>
                <a:ea typeface="微软雅黑" panose="020B0503020204020204" charset="-122"/>
                <a:cs typeface="Noto Sans Medium" panose="020B0602040504020204" pitchFamily="34" charset="0"/>
              </a:endParaRPr>
            </a:p>
          </p:txBody>
        </p:sp>
        <p:sp>
          <p:nvSpPr>
            <p:cNvPr id="88" name="圆角矩形 87"/>
            <p:cNvSpPr/>
            <p:nvPr/>
          </p:nvSpPr>
          <p:spPr>
            <a:xfrm>
              <a:off x="2998572" y="4803795"/>
              <a:ext cx="2163356" cy="310773"/>
            </a:xfrm>
            <a:prstGeom prst="roundRect">
              <a:avLst>
                <a:gd name="adj" fmla="val 12321"/>
              </a:avLst>
            </a:prstGeom>
            <a:solidFill>
              <a:srgbClr val="9FA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dirty="0">
                  <a:latin typeface="Noto Sans Medium" panose="020B0602040504020204" pitchFamily="34" charset="0"/>
                  <a:ea typeface="Noto Sans Medium" panose="020B0602040504020204" pitchFamily="34" charset="0"/>
                  <a:cs typeface="Noto Sans Medium" panose="020B0602040504020204" pitchFamily="34" charset="0"/>
                </a:rPr>
                <a:t>End-to-end ITR Process</a:t>
              </a:r>
              <a:endParaRPr lang="zh-CN" altLang="en-US" sz="1200" dirty="0">
                <a:latin typeface="Noto Sans Medium" panose="020B0602040504020204" pitchFamily="34" charset="0"/>
                <a:ea typeface="微软雅黑" panose="020B0503020204020204" charset="-122"/>
                <a:cs typeface="Noto Sans Medium" panose="020B0602040504020204" pitchFamily="34" charset="0"/>
              </a:endParaRPr>
            </a:p>
          </p:txBody>
        </p:sp>
        <p:sp>
          <p:nvSpPr>
            <p:cNvPr id="89" name="圆角矩形 88"/>
            <p:cNvSpPr/>
            <p:nvPr/>
          </p:nvSpPr>
          <p:spPr>
            <a:xfrm>
              <a:off x="5417311" y="4809769"/>
              <a:ext cx="2421110" cy="310773"/>
            </a:xfrm>
            <a:prstGeom prst="roundRect">
              <a:avLst>
                <a:gd name="adj" fmla="val 12321"/>
              </a:avLst>
            </a:prstGeom>
            <a:solidFill>
              <a:srgbClr val="9FA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dirty="0">
                  <a:latin typeface="Noto Sans Medium" panose="020B0602040504020204" pitchFamily="34" charset="0"/>
                  <a:ea typeface="Noto Sans Medium" panose="020B0602040504020204" pitchFamily="34" charset="0"/>
                  <a:cs typeface="Noto Sans Medium" panose="020B0602040504020204" pitchFamily="34" charset="0"/>
                </a:rPr>
                <a:t>Multiple Service Platforms</a:t>
              </a:r>
              <a:endParaRPr lang="zh-CN" altLang="en-US" sz="1200" dirty="0">
                <a:latin typeface="Noto Sans Medium" panose="020B0602040504020204" pitchFamily="34" charset="0"/>
                <a:ea typeface="微软雅黑" panose="020B0503020204020204" charset="-122"/>
                <a:cs typeface="Noto Sans Medium" panose="020B0602040504020204" pitchFamily="34" charset="0"/>
              </a:endParaRPr>
            </a:p>
          </p:txBody>
        </p:sp>
        <p:sp>
          <p:nvSpPr>
            <p:cNvPr id="90" name="圆角矩形 89"/>
            <p:cNvSpPr/>
            <p:nvPr/>
          </p:nvSpPr>
          <p:spPr>
            <a:xfrm>
              <a:off x="8093805" y="4803794"/>
              <a:ext cx="2714228" cy="310773"/>
            </a:xfrm>
            <a:prstGeom prst="roundRect">
              <a:avLst>
                <a:gd name="adj" fmla="val 12321"/>
              </a:avLst>
            </a:prstGeom>
            <a:solidFill>
              <a:srgbClr val="9FA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dirty="0">
                  <a:latin typeface="Noto Sans Medium" panose="020B0602040504020204" pitchFamily="34" charset="0"/>
                  <a:ea typeface="Noto Sans Medium" panose="020B0602040504020204" pitchFamily="34" charset="0"/>
                  <a:cs typeface="Noto Sans Medium" panose="020B0602040504020204" pitchFamily="34" charset="0"/>
                </a:rPr>
                <a:t>Spare Parts Delivery Service</a:t>
              </a:r>
              <a:endParaRPr lang="zh-CN" altLang="en-US" sz="1200" dirty="0">
                <a:latin typeface="Noto Sans Medium" panose="020B0602040504020204" pitchFamily="34" charset="0"/>
                <a:cs typeface="Noto Sans Medium" panose="020B0602040504020204" pitchFamily="34" charset="0"/>
              </a:endParaRPr>
            </a:p>
          </p:txBody>
        </p:sp>
        <p:sp>
          <p:nvSpPr>
            <p:cNvPr id="91" name="圆角矩形 90"/>
            <p:cNvSpPr/>
            <p:nvPr>
              <p:custDataLst>
                <p:tags r:id="rId1"/>
              </p:custDataLst>
            </p:nvPr>
          </p:nvSpPr>
          <p:spPr>
            <a:xfrm>
              <a:off x="3034070" y="2619364"/>
              <a:ext cx="793182" cy="341275"/>
            </a:xfrm>
            <a:prstGeom prst="roundRect">
              <a:avLst>
                <a:gd name="adj" fmla="val 12321"/>
              </a:avLst>
            </a:prstGeom>
            <a:solidFill>
              <a:srgbClr val="9FA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800" dirty="0">
                  <a:solidFill>
                    <a:schemeClr val="bg1"/>
                  </a:solidFill>
                  <a:latin typeface="Noto Sans Medium" panose="020B0602040504020204" pitchFamily="34" charset="0"/>
                  <a:ea typeface="Noto Sans Medium" panose="020B0602040504020204" pitchFamily="34" charset="0"/>
                  <a:cs typeface="Noto Sans Medium" panose="020B0602040504020204" pitchFamily="34" charset="0"/>
                </a:rPr>
                <a:t>RITA Robot</a:t>
              </a:r>
            </a:p>
          </p:txBody>
        </p:sp>
        <p:sp>
          <p:nvSpPr>
            <p:cNvPr id="92" name="圆角矩形 91"/>
            <p:cNvSpPr/>
            <p:nvPr>
              <p:custDataLst>
                <p:tags r:id="rId2"/>
              </p:custDataLst>
            </p:nvPr>
          </p:nvSpPr>
          <p:spPr>
            <a:xfrm>
              <a:off x="2468088" y="3773063"/>
              <a:ext cx="1101738" cy="341275"/>
            </a:xfrm>
            <a:prstGeom prst="roundRect">
              <a:avLst>
                <a:gd name="adj" fmla="val 12321"/>
              </a:avLst>
            </a:prstGeom>
            <a:solidFill>
              <a:srgbClr val="9FA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900" dirty="0">
                  <a:solidFill>
                    <a:schemeClr val="bg1"/>
                  </a:solidFill>
                  <a:latin typeface="Noto Sans Medium" panose="020B0602040504020204" pitchFamily="34" charset="0"/>
                  <a:ea typeface="Noto Sans Medium" panose="020B0602040504020204" pitchFamily="34" charset="0"/>
                  <a:cs typeface="Noto Sans Medium" panose="020B0602040504020204" pitchFamily="34" charset="0"/>
                </a:rPr>
                <a:t>Community</a:t>
              </a:r>
              <a:endParaRPr lang="zh-CN" altLang="en-US" sz="900" dirty="0">
                <a:solidFill>
                  <a:schemeClr val="bg1"/>
                </a:solidFill>
                <a:latin typeface="Noto Sans Medium" panose="020B0602040504020204" pitchFamily="34" charset="0"/>
                <a:ea typeface="微软雅黑" panose="020B0503020204020204" charset="-122"/>
                <a:cs typeface="Noto Sans Medium" panose="020B0602040504020204" pitchFamily="34" charset="0"/>
              </a:endParaRPr>
            </a:p>
          </p:txBody>
        </p:sp>
        <p:pic>
          <p:nvPicPr>
            <p:cNvPr id="94" name="图片 93"/>
            <p:cNvPicPr>
              <a:picLocks noChangeAspect="1"/>
            </p:cNvPicPr>
            <p:nvPr/>
          </p:nvPicPr>
          <p:blipFill>
            <a:blip r:embed="rId9" cstate="print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90255" y="1760241"/>
              <a:ext cx="705794" cy="576250"/>
            </a:xfrm>
            <a:prstGeom prst="ellipse">
              <a:avLst/>
            </a:prstGeom>
          </p:spPr>
        </p:pic>
        <p:sp>
          <p:nvSpPr>
            <p:cNvPr id="95" name="圆角矩形 94"/>
            <p:cNvSpPr/>
            <p:nvPr>
              <p:custDataLst>
                <p:tags r:id="rId3"/>
              </p:custDataLst>
            </p:nvPr>
          </p:nvSpPr>
          <p:spPr>
            <a:xfrm>
              <a:off x="4143903" y="2331931"/>
              <a:ext cx="739706" cy="206185"/>
            </a:xfrm>
            <a:prstGeom prst="roundRect">
              <a:avLst>
                <a:gd name="adj" fmla="val 12321"/>
              </a:avLst>
            </a:prstGeom>
            <a:solidFill>
              <a:srgbClr val="9FA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800" dirty="0">
                  <a:solidFill>
                    <a:schemeClr val="bg1"/>
                  </a:solidFill>
                  <a:latin typeface="Noto Sans Medium" panose="020B0602040504020204" pitchFamily="34" charset="0"/>
                  <a:ea typeface="Noto Sans Medium" panose="020B0602040504020204" pitchFamily="34" charset="0"/>
                  <a:cs typeface="Noto Sans Medium" panose="020B0602040504020204" pitchFamily="34" charset="0"/>
                </a:rPr>
                <a:t>Hotline</a:t>
              </a:r>
              <a:endParaRPr lang="zh-CN" altLang="en-US" sz="800" dirty="0">
                <a:solidFill>
                  <a:schemeClr val="bg1"/>
                </a:solidFill>
                <a:latin typeface="Noto Sans Medium" panose="020B0602040504020204" pitchFamily="34" charset="0"/>
                <a:ea typeface="微软雅黑" panose="020B0503020204020204" charset="-122"/>
                <a:cs typeface="Noto Sans Medium" panose="020B0602040504020204" pitchFamily="34" charset="0"/>
              </a:endParaRPr>
            </a:p>
          </p:txBody>
        </p:sp>
        <p:sp>
          <p:nvSpPr>
            <p:cNvPr id="96" name="圆角矩形 95"/>
            <p:cNvSpPr/>
            <p:nvPr>
              <p:custDataLst>
                <p:tags r:id="rId4"/>
              </p:custDataLst>
            </p:nvPr>
          </p:nvSpPr>
          <p:spPr>
            <a:xfrm>
              <a:off x="4951989" y="2331931"/>
              <a:ext cx="754867" cy="206185"/>
            </a:xfrm>
            <a:prstGeom prst="roundRect">
              <a:avLst>
                <a:gd name="adj" fmla="val 12321"/>
              </a:avLst>
            </a:prstGeom>
            <a:solidFill>
              <a:srgbClr val="9FA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800" dirty="0">
                  <a:solidFill>
                    <a:schemeClr val="bg1"/>
                  </a:solidFill>
                  <a:latin typeface="Noto Sans Medium" panose="020B0602040504020204" pitchFamily="34" charset="0"/>
                  <a:ea typeface="Noto Sans Medium" panose="020B0602040504020204" pitchFamily="34" charset="0"/>
                  <a:cs typeface="Noto Sans Medium" panose="020B0602040504020204" pitchFamily="34" charset="0"/>
                </a:rPr>
                <a:t>Live Chat</a:t>
              </a:r>
              <a:endParaRPr lang="zh-CN" altLang="en-US" sz="800" dirty="0">
                <a:solidFill>
                  <a:schemeClr val="bg1"/>
                </a:solidFill>
                <a:latin typeface="Noto Sans Medium" panose="020B0602040504020204" pitchFamily="34" charset="0"/>
                <a:ea typeface="微软雅黑" panose="020B0503020204020204" charset="-122"/>
                <a:cs typeface="Noto Sans Medium" panose="020B0602040504020204" pitchFamily="34" charset="0"/>
              </a:endParaRPr>
            </a:p>
          </p:txBody>
        </p:sp>
        <p:pic>
          <p:nvPicPr>
            <p:cNvPr id="97" name="图片 96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11694" y="3215647"/>
              <a:ext cx="430443" cy="430443"/>
            </a:xfrm>
            <a:prstGeom prst="rect">
              <a:avLst/>
            </a:prstGeom>
          </p:spPr>
        </p:pic>
        <p:pic>
          <p:nvPicPr>
            <p:cNvPr id="98" name="图片 97"/>
            <p:cNvPicPr>
              <a:picLocks noChangeAspect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983" t="5938" r="7130" b="9023"/>
            <a:stretch>
              <a:fillRect/>
            </a:stretch>
          </p:blipFill>
          <p:spPr>
            <a:xfrm>
              <a:off x="2353630" y="2067311"/>
              <a:ext cx="421481" cy="429184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sp>
          <p:nvSpPr>
            <p:cNvPr id="99" name="圆角矩形 98"/>
            <p:cNvSpPr/>
            <p:nvPr>
              <p:custDataLst>
                <p:tags r:id="rId5"/>
              </p:custDataLst>
            </p:nvPr>
          </p:nvSpPr>
          <p:spPr>
            <a:xfrm>
              <a:off x="2145292" y="2620394"/>
              <a:ext cx="824484" cy="341275"/>
            </a:xfrm>
            <a:prstGeom prst="roundRect">
              <a:avLst>
                <a:gd name="adj" fmla="val 12321"/>
              </a:avLst>
            </a:prstGeom>
            <a:solidFill>
              <a:srgbClr val="9FA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800" dirty="0">
                  <a:solidFill>
                    <a:schemeClr val="bg1"/>
                  </a:solidFill>
                  <a:latin typeface="Noto Sans Medium" panose="020B0602040504020204" pitchFamily="34" charset="0"/>
                  <a:ea typeface="Noto Sans Medium" panose="020B0602040504020204" pitchFamily="34" charset="0"/>
                  <a:cs typeface="Noto Sans Medium" panose="020B0602040504020204" pitchFamily="34" charset="0"/>
                </a:rPr>
                <a:t>Official Web</a:t>
              </a:r>
              <a:endParaRPr lang="zh-CN" altLang="en-US" sz="800" dirty="0">
                <a:solidFill>
                  <a:schemeClr val="bg1"/>
                </a:solidFill>
                <a:latin typeface="Noto Sans Medium" panose="020B0602040504020204" pitchFamily="34" charset="0"/>
                <a:ea typeface="微软雅黑" panose="020B0503020204020204" charset="-122"/>
                <a:cs typeface="Noto Sans Medium" panose="020B0602040504020204" pitchFamily="34" charset="0"/>
              </a:endParaRPr>
            </a:p>
          </p:txBody>
        </p:sp>
        <p:pic>
          <p:nvPicPr>
            <p:cNvPr id="101" name="图片 100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94305" y="2086494"/>
              <a:ext cx="472707" cy="472707"/>
            </a:xfrm>
            <a:prstGeom prst="rect">
              <a:avLst/>
            </a:prstGeom>
          </p:spPr>
        </p:pic>
        <p:pic>
          <p:nvPicPr>
            <p:cNvPr id="102" name="图片 101"/>
            <p:cNvPicPr>
              <a:picLocks noChangeAspect="1"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437" r="9331" b="13531"/>
            <a:stretch>
              <a:fillRect/>
            </a:stretch>
          </p:blipFill>
          <p:spPr>
            <a:xfrm>
              <a:off x="5070055" y="1760241"/>
              <a:ext cx="517236" cy="525714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103" name="图片 102"/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92305" y="2665951"/>
              <a:ext cx="720000" cy="624021"/>
            </a:xfrm>
            <a:prstGeom prst="rect">
              <a:avLst/>
            </a:prstGeom>
          </p:spPr>
        </p:pic>
        <p:sp>
          <p:nvSpPr>
            <p:cNvPr id="104" name="圆角矩形 103"/>
            <p:cNvSpPr/>
            <p:nvPr>
              <p:custDataLst>
                <p:tags r:id="rId6"/>
              </p:custDataLst>
            </p:nvPr>
          </p:nvSpPr>
          <p:spPr>
            <a:xfrm>
              <a:off x="4444856" y="3264495"/>
              <a:ext cx="1021167" cy="206185"/>
            </a:xfrm>
            <a:prstGeom prst="roundRect">
              <a:avLst>
                <a:gd name="adj" fmla="val 12321"/>
              </a:avLst>
            </a:prstGeom>
            <a:solidFill>
              <a:srgbClr val="9FA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800" dirty="0">
                  <a:solidFill>
                    <a:schemeClr val="bg1"/>
                  </a:solidFill>
                  <a:latin typeface="Noto Sans Medium" panose="020B0602040504020204" pitchFamily="34" charset="0"/>
                  <a:ea typeface="Noto Sans Medium" panose="020B0602040504020204" pitchFamily="34" charset="0"/>
                  <a:cs typeface="Noto Sans Medium" panose="020B0602040504020204" pitchFamily="34" charset="0"/>
                </a:rPr>
                <a:t>Case Portal</a:t>
              </a:r>
              <a:endParaRPr lang="zh-CN" altLang="en-US" sz="800" dirty="0">
                <a:solidFill>
                  <a:schemeClr val="bg1"/>
                </a:solidFill>
                <a:latin typeface="Noto Sans Medium" panose="020B0602040504020204" pitchFamily="34" charset="0"/>
                <a:ea typeface="微软雅黑" panose="020B0503020204020204" charset="-122"/>
                <a:cs typeface="Noto Sans Medium" panose="020B0602040504020204" pitchFamily="34" charset="0"/>
              </a:endParaRPr>
            </a:p>
          </p:txBody>
        </p:sp>
        <p:pic>
          <p:nvPicPr>
            <p:cNvPr id="105" name="图片 104"/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26151" y="3719965"/>
              <a:ext cx="311446" cy="311446"/>
            </a:xfrm>
            <a:prstGeom prst="rect">
              <a:avLst/>
            </a:prstGeom>
          </p:spPr>
        </p:pic>
        <p:pic>
          <p:nvPicPr>
            <p:cNvPr id="106" name="图片 105"/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47752" y="3724487"/>
              <a:ext cx="305884" cy="305884"/>
            </a:xfrm>
            <a:prstGeom prst="rect">
              <a:avLst/>
            </a:prstGeom>
          </p:spPr>
        </p:pic>
        <p:pic>
          <p:nvPicPr>
            <p:cNvPr id="107" name="图片 106"/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64727" y="3728531"/>
              <a:ext cx="290710" cy="29071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pic>
          <p:nvPicPr>
            <p:cNvPr id="108" name="图片 107"/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90402" y="3718138"/>
              <a:ext cx="308619" cy="308619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sp>
          <p:nvSpPr>
            <p:cNvPr id="109" name="圆角矩形 108"/>
            <p:cNvSpPr/>
            <p:nvPr>
              <p:custDataLst>
                <p:tags r:id="rId7"/>
              </p:custDataLst>
            </p:nvPr>
          </p:nvSpPr>
          <p:spPr>
            <a:xfrm>
              <a:off x="4189895" y="4085146"/>
              <a:ext cx="1498992" cy="206185"/>
            </a:xfrm>
            <a:prstGeom prst="roundRect">
              <a:avLst>
                <a:gd name="adj" fmla="val 12321"/>
              </a:avLst>
            </a:prstGeom>
            <a:solidFill>
              <a:srgbClr val="9FA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800" dirty="0">
                  <a:solidFill>
                    <a:schemeClr val="bg1"/>
                  </a:solidFill>
                  <a:latin typeface="Noto Sans Medium" panose="020B0602040504020204" pitchFamily="34" charset="0"/>
                  <a:ea typeface="Noto Sans Medium" panose="020B0602040504020204" pitchFamily="34" charset="0"/>
                  <a:cs typeface="Noto Sans Medium" panose="020B0602040504020204" pitchFamily="34" charset="0"/>
                </a:rPr>
                <a:t>Multiple Entrances</a:t>
              </a:r>
              <a:endParaRPr lang="zh-CN" altLang="en-US" sz="800" dirty="0">
                <a:solidFill>
                  <a:schemeClr val="bg1"/>
                </a:solidFill>
                <a:latin typeface="Noto Sans Medium" panose="020B0602040504020204" pitchFamily="34" charset="0"/>
                <a:ea typeface="微软雅黑" panose="020B0503020204020204" charset="-122"/>
                <a:cs typeface="Noto Sans Medium" panose="020B0602040504020204" pitchFamily="34" charset="0"/>
              </a:endParaRPr>
            </a:p>
          </p:txBody>
        </p:sp>
      </p:grpSp>
      <p:pic>
        <p:nvPicPr>
          <p:cNvPr id="3" name="图片 2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9092" y="3888258"/>
            <a:ext cx="274233" cy="27423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576734" y="143743"/>
            <a:ext cx="9936000" cy="605684"/>
          </a:xfrm>
        </p:spPr>
        <p:txBody>
          <a:bodyPr/>
          <a:lstStyle/>
          <a:p>
            <a:r>
              <a:rPr lang="en-US" altLang="zh-CN" dirty="0" err="1">
                <a:solidFill>
                  <a:schemeClr val="tx1"/>
                </a:solidFill>
                <a:latin typeface="Noto Sans Black" panose="020B0A02040504020204"/>
              </a:rPr>
              <a:t>Ruijie</a:t>
            </a:r>
            <a:r>
              <a:rPr lang="en-US" altLang="zh-CN" dirty="0">
                <a:solidFill>
                  <a:schemeClr val="tx1"/>
                </a:solidFill>
                <a:latin typeface="Noto Sans Black" panose="020B0A02040504020204"/>
              </a:rPr>
              <a:t> Service Platform: </a:t>
            </a:r>
            <a:r>
              <a:rPr lang="en-US" altLang="zh-CN" dirty="0">
                <a:latin typeface="Noto Sans Black" panose="020B0A02040504020204"/>
              </a:rPr>
              <a:t>Service Portal </a:t>
            </a:r>
          </a:p>
        </p:txBody>
      </p:sp>
      <p:sp>
        <p:nvSpPr>
          <p:cNvPr id="110" name="内容占位符 2"/>
          <p:cNvSpPr txBox="1"/>
          <p:nvPr/>
        </p:nvSpPr>
        <p:spPr>
          <a:xfrm>
            <a:off x="505094" y="647799"/>
            <a:ext cx="10728066" cy="936103"/>
          </a:xfrm>
          <a:prstGeom prst="rect">
            <a:avLst/>
          </a:prstGeom>
        </p:spPr>
        <p:txBody>
          <a:bodyPr/>
          <a:lstStyle>
            <a:lvl1pPr marL="0" indent="0" algn="l" defTabSz="863600" rtl="0" eaLnBrk="1" latinLnBrk="0" hangingPunct="1">
              <a:lnSpc>
                <a:spcPct val="120000"/>
              </a:lnSpc>
              <a:spcBef>
                <a:spcPts val="945"/>
              </a:spcBef>
              <a:buFont typeface="Arial" panose="020B0604020202020204" pitchFamily="34" charset="0"/>
              <a:buNone/>
              <a:defRPr sz="1200" kern="1200">
                <a:solidFill>
                  <a:srgbClr val="50555A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431800" indent="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None/>
              <a:defRPr sz="2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1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19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437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8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86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04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22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Service Portal is an </a:t>
            </a:r>
            <a:r>
              <a:rPr lang="en-US" altLang="zh-CN" sz="18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unified support resource index platform</a:t>
            </a:r>
            <a:r>
              <a:rPr lang="en-US" altLang="zh-CN" sz="18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 to access Ruijie technical support. </a:t>
            </a:r>
            <a:r>
              <a:rPr lang="en-US" altLang="zh-CN" sz="18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In-depth service overview </a:t>
            </a:r>
            <a:r>
              <a:rPr lang="en-US" altLang="zh-CN" sz="18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and </a:t>
            </a:r>
            <a:r>
              <a:rPr lang="en-US" altLang="zh-CN" sz="18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user-friendly design </a:t>
            </a:r>
            <a:r>
              <a:rPr lang="en-US" altLang="zh-CN" sz="18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help you know Ruijie services and their </a:t>
            </a:r>
            <a:r>
              <a:rPr lang="en-US" altLang="zh-CN" sz="18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highlight values </a:t>
            </a:r>
            <a:r>
              <a:rPr lang="en-US" altLang="zh-CN" sz="18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easily.</a:t>
            </a:r>
          </a:p>
        </p:txBody>
      </p:sp>
      <p:sp>
        <p:nvSpPr>
          <p:cNvPr id="112" name="文本框 111"/>
          <p:cNvSpPr txBox="1"/>
          <p:nvPr/>
        </p:nvSpPr>
        <p:spPr>
          <a:xfrm>
            <a:off x="927896" y="6013921"/>
            <a:ext cx="105599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SzPct val="25000"/>
            </a:pPr>
            <a:r>
              <a:rPr lang="en-US" altLang="zh-CN" sz="1200" u="sng" dirty="0">
                <a:solidFill>
                  <a:srgbClr val="FF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hlinkClick r:id="rId2"/>
              </a:rPr>
              <a:t>https://</a:t>
            </a:r>
            <a:r>
              <a:rPr lang="en-US" altLang="zh-CN" sz="1200" u="sng" dirty="0" smtClean="0">
                <a:solidFill>
                  <a:srgbClr val="FF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hlinkClick r:id="rId2"/>
              </a:rPr>
              <a:t>www.ruijienetworks.com/support</a:t>
            </a:r>
            <a:endParaRPr lang="en-US" altLang="zh-CN" sz="1200" u="sng" dirty="0" smtClean="0">
              <a:solidFill>
                <a:srgbClr val="FF0000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  <a:p>
            <a:pPr algn="ctr">
              <a:buSzPct val="25000"/>
            </a:pPr>
            <a:r>
              <a:rPr lang="en-US" altLang="zh-CN" sz="1200" u="sng" dirty="0">
                <a:solidFill>
                  <a:srgbClr val="0055CD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https://reyee.ruijie.com/en-global/support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1605" y="1511895"/>
            <a:ext cx="4635087" cy="2723626"/>
          </a:xfrm>
          <a:prstGeom prst="rect">
            <a:avLst/>
          </a:prstGeom>
          <a:ln w="127000" cap="sq">
            <a:solidFill>
              <a:srgbClr val="000000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6" name="íŝḷiḋé"/>
          <p:cNvSpPr/>
          <p:nvPr/>
        </p:nvSpPr>
        <p:spPr bwMode="auto">
          <a:xfrm>
            <a:off x="5455007" y="4653253"/>
            <a:ext cx="1032527" cy="445763"/>
          </a:xfrm>
          <a:custGeom>
            <a:avLst/>
            <a:gdLst>
              <a:gd name="T0" fmla="*/ 6924 w 6981"/>
              <a:gd name="T1" fmla="*/ 2138 h 2315"/>
              <a:gd name="T2" fmla="*/ 6924 w 6981"/>
              <a:gd name="T3" fmla="*/ 2138 h 2315"/>
              <a:gd name="T4" fmla="*/ 6249 w 6981"/>
              <a:gd name="T5" fmla="*/ 2000 h 2315"/>
              <a:gd name="T6" fmla="*/ 6036 w 6981"/>
              <a:gd name="T7" fmla="*/ 1712 h 2315"/>
              <a:gd name="T8" fmla="*/ 5897 w 6981"/>
              <a:gd name="T9" fmla="*/ 0 h 2315"/>
              <a:gd name="T10" fmla="*/ 1074 w 6981"/>
              <a:gd name="T11" fmla="*/ 0 h 2315"/>
              <a:gd name="T12" fmla="*/ 944 w 6981"/>
              <a:gd name="T13" fmla="*/ 1712 h 2315"/>
              <a:gd name="T14" fmla="*/ 731 w 6981"/>
              <a:gd name="T15" fmla="*/ 2000 h 2315"/>
              <a:gd name="T16" fmla="*/ 37 w 6981"/>
              <a:gd name="T17" fmla="*/ 2148 h 2315"/>
              <a:gd name="T18" fmla="*/ 0 w 6981"/>
              <a:gd name="T19" fmla="*/ 2185 h 2315"/>
              <a:gd name="T20" fmla="*/ 0 w 6981"/>
              <a:gd name="T21" fmla="*/ 2314 h 2315"/>
              <a:gd name="T22" fmla="*/ 18 w 6981"/>
              <a:gd name="T23" fmla="*/ 2314 h 2315"/>
              <a:gd name="T24" fmla="*/ 6961 w 6981"/>
              <a:gd name="T25" fmla="*/ 2314 h 2315"/>
              <a:gd name="T26" fmla="*/ 6980 w 6981"/>
              <a:gd name="T27" fmla="*/ 2314 h 2315"/>
              <a:gd name="T28" fmla="*/ 6980 w 6981"/>
              <a:gd name="T29" fmla="*/ 2185 h 2315"/>
              <a:gd name="T30" fmla="*/ 6924 w 6981"/>
              <a:gd name="T31" fmla="*/ 2138 h 23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6981" h="2315">
                <a:moveTo>
                  <a:pt x="6924" y="2138"/>
                </a:moveTo>
                <a:lnTo>
                  <a:pt x="6924" y="2138"/>
                </a:lnTo>
                <a:cubicBezTo>
                  <a:pt x="6795" y="2111"/>
                  <a:pt x="6443" y="2037"/>
                  <a:pt x="6249" y="2000"/>
                </a:cubicBezTo>
                <a:cubicBezTo>
                  <a:pt x="6008" y="1944"/>
                  <a:pt x="6036" y="1712"/>
                  <a:pt x="6036" y="1712"/>
                </a:cubicBezTo>
                <a:cubicBezTo>
                  <a:pt x="5897" y="0"/>
                  <a:pt x="5897" y="0"/>
                  <a:pt x="5897" y="0"/>
                </a:cubicBezTo>
                <a:cubicBezTo>
                  <a:pt x="1074" y="0"/>
                  <a:pt x="1074" y="0"/>
                  <a:pt x="1074" y="0"/>
                </a:cubicBezTo>
                <a:cubicBezTo>
                  <a:pt x="944" y="1712"/>
                  <a:pt x="944" y="1712"/>
                  <a:pt x="944" y="1712"/>
                </a:cubicBezTo>
                <a:cubicBezTo>
                  <a:pt x="944" y="1712"/>
                  <a:pt x="972" y="1944"/>
                  <a:pt x="731" y="2000"/>
                </a:cubicBezTo>
                <a:cubicBezTo>
                  <a:pt x="527" y="2046"/>
                  <a:pt x="148" y="2120"/>
                  <a:pt x="37" y="2148"/>
                </a:cubicBezTo>
                <a:cubicBezTo>
                  <a:pt x="0" y="2157"/>
                  <a:pt x="0" y="2185"/>
                  <a:pt x="0" y="2185"/>
                </a:cubicBezTo>
                <a:cubicBezTo>
                  <a:pt x="0" y="2314"/>
                  <a:pt x="0" y="2314"/>
                  <a:pt x="0" y="2314"/>
                </a:cubicBezTo>
                <a:cubicBezTo>
                  <a:pt x="18" y="2314"/>
                  <a:pt x="18" y="2314"/>
                  <a:pt x="18" y="2314"/>
                </a:cubicBezTo>
                <a:cubicBezTo>
                  <a:pt x="6961" y="2314"/>
                  <a:pt x="6961" y="2314"/>
                  <a:pt x="6961" y="2314"/>
                </a:cubicBezTo>
                <a:cubicBezTo>
                  <a:pt x="6980" y="2314"/>
                  <a:pt x="6980" y="2314"/>
                  <a:pt x="6980" y="2314"/>
                </a:cubicBezTo>
                <a:cubicBezTo>
                  <a:pt x="6980" y="2185"/>
                  <a:pt x="6980" y="2185"/>
                  <a:pt x="6980" y="2185"/>
                </a:cubicBezTo>
                <a:cubicBezTo>
                  <a:pt x="6980" y="2185"/>
                  <a:pt x="6980" y="2157"/>
                  <a:pt x="6924" y="2138"/>
                </a:cubicBezTo>
              </a:path>
            </a:pathLst>
          </a:custGeom>
          <a:solidFill>
            <a:srgbClr val="EAEAEA"/>
          </a:solidFill>
          <a:ln>
            <a:noFill/>
          </a:ln>
          <a:effectLst/>
        </p:spPr>
        <p:txBody>
          <a:bodyPr wrap="square" lIns="115189" tIns="57595" rIns="115189" bIns="57595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sz="2265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ïṧ1îḋé"/>
          <p:cNvSpPr/>
          <p:nvPr/>
        </p:nvSpPr>
        <p:spPr bwMode="auto">
          <a:xfrm>
            <a:off x="3294767" y="4437229"/>
            <a:ext cx="5292000" cy="207045"/>
          </a:xfrm>
          <a:custGeom>
            <a:avLst/>
            <a:gdLst>
              <a:gd name="T0" fmla="*/ 0 w 19000"/>
              <a:gd name="T1" fmla="*/ 0 h 2103"/>
              <a:gd name="T2" fmla="*/ 0 w 19000"/>
              <a:gd name="T3" fmla="*/ 0 h 2103"/>
              <a:gd name="T4" fmla="*/ 0 w 19000"/>
              <a:gd name="T5" fmla="*/ 1472 h 2103"/>
              <a:gd name="T6" fmla="*/ 630 w 19000"/>
              <a:gd name="T7" fmla="*/ 2102 h 2103"/>
              <a:gd name="T8" fmla="*/ 18369 w 19000"/>
              <a:gd name="T9" fmla="*/ 2102 h 2103"/>
              <a:gd name="T10" fmla="*/ 18999 w 19000"/>
              <a:gd name="T11" fmla="*/ 1472 h 2103"/>
              <a:gd name="T12" fmla="*/ 18999 w 19000"/>
              <a:gd name="T13" fmla="*/ 0 h 2103"/>
              <a:gd name="T14" fmla="*/ 0 w 19000"/>
              <a:gd name="T15" fmla="*/ 0 h 21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9000" h="2103">
                <a:moveTo>
                  <a:pt x="0" y="0"/>
                </a:moveTo>
                <a:lnTo>
                  <a:pt x="0" y="0"/>
                </a:lnTo>
                <a:cubicBezTo>
                  <a:pt x="0" y="1472"/>
                  <a:pt x="0" y="1472"/>
                  <a:pt x="0" y="1472"/>
                </a:cubicBezTo>
                <a:cubicBezTo>
                  <a:pt x="0" y="1824"/>
                  <a:pt x="278" y="2102"/>
                  <a:pt x="630" y="2102"/>
                </a:cubicBezTo>
                <a:cubicBezTo>
                  <a:pt x="18369" y="2102"/>
                  <a:pt x="18369" y="2102"/>
                  <a:pt x="18369" y="2102"/>
                </a:cubicBezTo>
                <a:cubicBezTo>
                  <a:pt x="18712" y="2102"/>
                  <a:pt x="18999" y="1824"/>
                  <a:pt x="18999" y="1472"/>
                </a:cubicBezTo>
                <a:cubicBezTo>
                  <a:pt x="18999" y="0"/>
                  <a:pt x="18999" y="0"/>
                  <a:pt x="18999" y="0"/>
                </a:cubicBezTo>
                <a:lnTo>
                  <a:pt x="0" y="0"/>
                </a:lnTo>
              </a:path>
            </a:pathLst>
          </a:custGeom>
          <a:solidFill>
            <a:srgbClr val="F4F4F4"/>
          </a:solidFill>
          <a:ln>
            <a:noFill/>
          </a:ln>
          <a:effectLst/>
        </p:spPr>
        <p:txBody>
          <a:bodyPr wrap="square" lIns="115189" tIns="57595" rIns="115189" bIns="57595" anchor="ctr">
            <a:normAutofit fontScale="3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sz="2265"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4"/>
          <a:srcRect b="8885"/>
          <a:stretch/>
        </p:blipFill>
        <p:spPr>
          <a:xfrm>
            <a:off x="1681229" y="3600127"/>
            <a:ext cx="3646173" cy="2336920"/>
          </a:xfrm>
          <a:prstGeom prst="rect">
            <a:avLst/>
          </a:prstGeom>
          <a:ln w="127000" cap="sq">
            <a:solidFill>
              <a:srgbClr val="000000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8" name="图片 7"/>
          <p:cNvPicPr>
            <a:picLocks noChangeAspect="1"/>
          </p:cNvPicPr>
          <p:nvPr/>
        </p:nvPicPr>
        <p:blipFill rotWithShape="1">
          <a:blip r:embed="rId5"/>
          <a:srcRect t="-1" b="11237"/>
          <a:stretch/>
        </p:blipFill>
        <p:spPr>
          <a:xfrm>
            <a:off x="7077778" y="3600127"/>
            <a:ext cx="3692139" cy="2304256"/>
          </a:xfrm>
          <a:prstGeom prst="rect">
            <a:avLst/>
          </a:prstGeom>
          <a:ln w="127000" cap="sq">
            <a:solidFill>
              <a:srgbClr val="000000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>
                <a:solidFill>
                  <a:schemeClr val="tx1"/>
                </a:solidFill>
                <a:latin typeface="Noto Sans Black" panose="020B0A02040504020204"/>
              </a:rPr>
              <a:t>Ruijie</a:t>
            </a:r>
            <a:r>
              <a:rPr lang="en-US" altLang="zh-CN" dirty="0">
                <a:solidFill>
                  <a:schemeClr val="tx1"/>
                </a:solidFill>
                <a:latin typeface="Noto Sans Black" panose="020B0A02040504020204"/>
              </a:rPr>
              <a:t> Service Platform: </a:t>
            </a:r>
            <a:r>
              <a:rPr lang="en-US" altLang="zh-CN" dirty="0">
                <a:latin typeface="Noto Sans Black" panose="020B0A02040504020204"/>
              </a:rPr>
              <a:t>Case Portal </a:t>
            </a:r>
          </a:p>
        </p:txBody>
      </p:sp>
      <p:sp>
        <p:nvSpPr>
          <p:cNvPr id="110" name="内容占位符 2"/>
          <p:cNvSpPr txBox="1"/>
          <p:nvPr/>
        </p:nvSpPr>
        <p:spPr>
          <a:xfrm>
            <a:off x="576000" y="1080215"/>
            <a:ext cx="10728066" cy="936103"/>
          </a:xfrm>
          <a:prstGeom prst="rect">
            <a:avLst/>
          </a:prstGeom>
        </p:spPr>
        <p:txBody>
          <a:bodyPr/>
          <a:lstStyle>
            <a:lvl1pPr marL="0" indent="0" algn="l" defTabSz="863600" rtl="0" eaLnBrk="1" latinLnBrk="0" hangingPunct="1">
              <a:lnSpc>
                <a:spcPct val="120000"/>
              </a:lnSpc>
              <a:spcBef>
                <a:spcPts val="945"/>
              </a:spcBef>
              <a:buFont typeface="Arial" panose="020B0604020202020204" pitchFamily="34" charset="0"/>
              <a:buNone/>
              <a:defRPr sz="1200" kern="1200">
                <a:solidFill>
                  <a:srgbClr val="50555A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431800" indent="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None/>
              <a:defRPr sz="2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1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19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4373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8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86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04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2205" indent="-215900" algn="l" defTabSz="863600" rtl="0" eaLnBrk="1" latinLnBrk="0" hangingPunct="1">
              <a:lnSpc>
                <a:spcPct val="90000"/>
              </a:lnSpc>
              <a:spcBef>
                <a:spcPct val="95000"/>
              </a:spcBef>
              <a:buFont typeface="Arial" panose="020B0604020202020204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18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Case Portal integrates </a:t>
            </a:r>
            <a:r>
              <a:rPr lang="en-US" altLang="zh-CN" sz="1800" b="1" dirty="0">
                <a:solidFill>
                  <a:srgbClr val="C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Tech Inquiry, Tech Fault, RMA Claim and Suggestion feedback</a:t>
            </a:r>
            <a:r>
              <a:rPr lang="en-US" altLang="zh-CN" sz="1800" dirty="0"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</a:rPr>
              <a:t>, helping customers report issues, seek technical supports and sharing inspired ideas.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576000" y="5655128"/>
            <a:ext cx="105599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SzPct val="25000"/>
            </a:pPr>
            <a:r>
              <a:rPr lang="en-US" altLang="zh-CN" sz="1200" u="sng" dirty="0">
                <a:solidFill>
                  <a:srgbClr val="FF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hlinkClick r:id="rId2"/>
              </a:rPr>
              <a:t>https://www.ruijienetworks.com/support/caseportal</a:t>
            </a:r>
            <a:endParaRPr lang="en-US" altLang="zh-CN" sz="1200" u="sng" dirty="0">
              <a:solidFill>
                <a:srgbClr val="FF0000"/>
              </a:solidFill>
              <a:latin typeface="Noto Sans" panose="020B0502040504020204" pitchFamily="34" charset="0"/>
              <a:ea typeface="Noto Sans" panose="020B0502040504020204" pitchFamily="34" charset="0"/>
              <a:cs typeface="Noto Sans" panose="020B0502040504020204" pitchFamily="34" charset="0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5201862" y="5459177"/>
            <a:ext cx="108876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SzPct val="25000"/>
            </a:pPr>
            <a:r>
              <a:rPr lang="en-US" altLang="zh-CN" sz="1200" dirty="0">
                <a:solidFill>
                  <a:srgbClr val="000000"/>
                </a:solidFill>
                <a:latin typeface="Noto Sans" panose="020B0502040504020204" pitchFamily="34" charset="0"/>
                <a:ea typeface="Noto Sans" panose="020B0502040504020204" pitchFamily="34" charset="0"/>
                <a:cs typeface="Noto Sans" panose="020B0502040504020204" pitchFamily="34" charset="0"/>
                <a:sym typeface="Arial" panose="020B0604020202020204" pitchFamily="34" charset="0"/>
              </a:rPr>
              <a:t>24*7 Service</a:t>
            </a:r>
          </a:p>
        </p:txBody>
      </p:sp>
      <p:grpSp>
        <p:nvGrpSpPr>
          <p:cNvPr id="8" name="组合 7"/>
          <p:cNvGrpSpPr/>
          <p:nvPr/>
        </p:nvGrpSpPr>
        <p:grpSpPr>
          <a:xfrm>
            <a:off x="7199610" y="2087023"/>
            <a:ext cx="3851917" cy="2684189"/>
            <a:chOff x="6483958" y="2022927"/>
            <a:chExt cx="5083330" cy="3542292"/>
          </a:xfrm>
        </p:grpSpPr>
        <p:pic>
          <p:nvPicPr>
            <p:cNvPr id="9" name="图片 8"/>
            <p:cNvPicPr>
              <a:picLocks noChangeAspect="1"/>
            </p:cNvPicPr>
            <p:nvPr/>
          </p:nvPicPr>
          <p:blipFill rotWithShape="1">
            <a:blip r:embed="rId3"/>
            <a:srcRect l="1706" t="3436" r="51771" b="3648"/>
            <a:stretch>
              <a:fillRect/>
            </a:stretch>
          </p:blipFill>
          <p:spPr>
            <a:xfrm>
              <a:off x="6483958" y="2057793"/>
              <a:ext cx="1666551" cy="1631686"/>
            </a:xfrm>
            <a:prstGeom prst="rect">
              <a:avLst/>
            </a:prstGeom>
          </p:spPr>
        </p:pic>
        <p:pic>
          <p:nvPicPr>
            <p:cNvPr id="10" name="图片 9"/>
            <p:cNvPicPr>
              <a:picLocks noChangeAspect="1"/>
            </p:cNvPicPr>
            <p:nvPr/>
          </p:nvPicPr>
          <p:blipFill rotWithShape="1">
            <a:blip r:embed="rId4"/>
            <a:srcRect l="3598" t="1015" r="3660" b="2467"/>
            <a:stretch>
              <a:fillRect/>
            </a:stretch>
          </p:blipFill>
          <p:spPr>
            <a:xfrm>
              <a:off x="8659540" y="2022927"/>
              <a:ext cx="1701416" cy="1687470"/>
            </a:xfrm>
            <a:prstGeom prst="rect">
              <a:avLst/>
            </a:prstGeom>
          </p:spPr>
        </p:pic>
        <p:pic>
          <p:nvPicPr>
            <p:cNvPr id="11" name="图片 10"/>
            <p:cNvPicPr>
              <a:picLocks noChangeAspect="1"/>
            </p:cNvPicPr>
            <p:nvPr/>
          </p:nvPicPr>
          <p:blipFill rotWithShape="1">
            <a:blip r:embed="rId5"/>
            <a:srcRect l="1488" t="1445" r="1564" b="1239"/>
            <a:stretch>
              <a:fillRect/>
            </a:stretch>
          </p:blipFill>
          <p:spPr>
            <a:xfrm>
              <a:off x="9837979" y="3863803"/>
              <a:ext cx="1729309" cy="1701416"/>
            </a:xfrm>
            <a:prstGeom prst="rect">
              <a:avLst/>
            </a:prstGeom>
          </p:spPr>
        </p:pic>
        <p:pic>
          <p:nvPicPr>
            <p:cNvPr id="12" name="图片 11"/>
            <p:cNvPicPr>
              <a:picLocks noChangeAspect="1"/>
            </p:cNvPicPr>
            <p:nvPr/>
          </p:nvPicPr>
          <p:blipFill rotWithShape="1">
            <a:blip r:embed="rId6"/>
            <a:srcRect l="2355" t="1675" r="2685" b="2085"/>
            <a:stretch>
              <a:fillRect/>
            </a:stretch>
          </p:blipFill>
          <p:spPr>
            <a:xfrm>
              <a:off x="7613587" y="3835912"/>
              <a:ext cx="1701417" cy="1687470"/>
            </a:xfrm>
            <a:prstGeom prst="rect">
              <a:avLst/>
            </a:prstGeom>
          </p:spPr>
        </p:pic>
      </p:grpSp>
      <p:pic>
        <p:nvPicPr>
          <p:cNvPr id="14" name="图片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0898" y="1994503"/>
            <a:ext cx="4609820" cy="3298811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e7beb153-9330-4d6c-ad01-3096dafb6fb2}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547,&quot;width&quot;:547}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  <p:tag name="KSO_WM_UNIT_PLACING_PICTURE_USER_VIEWPORT" val="{&quot;height&quot;:742.2526089625537,&quot;width&quot;:727.6708860759494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  <p:tag name="KSO_WM_UNIT_PLACING_PICTURE_USER_VIEWPORT" val="{&quot;height&quot;:966.6688755447213,&quot;width&quot;:1099.1283326350003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  <p:tag name="KSO_WM_UNIT_PLACING_PICTURE_USER_VIEWPORT" val="{&quot;height&quot;:994.3130654965131,&quot;width&quot;:1084.8696831997688}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  <p:tag name="KSO_WM_UNIT_PLACING_PICTURE_USER_VIEWPORT" val="{&quot;height&quot;:994.5308059477364,&quot;width&quot;:1189.1592732418744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  <p:tag name="KSO_WM_UNIT_PLACING_PICTURE_USER_VIEWPORT" val="{&quot;height&quot;:968.2827034089988,&quot;width&quot;:1163.9583698039282}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  <p:tag name="KSO_WM_UNIT_PLACING_PICTURE_USER_VIEWPORT" val="{&quot;height&quot;:1006.713874662903,&quot;width&quot;:1098.3235342639707}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  <p:tag name="KSO_WM_UNIT_PLACING_PICTURE_USER_VIEWPORT" val="{&quot;height&quot;:1009.113883706594,&quot;width&quot;:1154.5084286046585}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4992,&quot;width&quot;:11676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  <p:tag name="KSO_WM_UNIT_TABLE_BEAUTIFY" val="smartTable{bc870bd0-e532-42af-a4dc-c39dfc2ac3f4}"/>
  <p:tag name="TABLE_ENDDRAG_ORIGIN_RECT" val="891*146"/>
  <p:tag name="TABLE_ENDDRAG_RECT" val="38*341*891*146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heme/theme1.xml><?xml version="1.0" encoding="utf-8"?>
<a:theme xmlns:a="http://schemas.openxmlformats.org/drawingml/2006/main" name="主题1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工作ppt专用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3">
          <a:schemeClr val="accent2"/>
        </a:lnRef>
        <a:fillRef idx="0">
          <a:schemeClr val="accent2"/>
        </a:fillRef>
        <a:effectRef idx="2">
          <a:schemeClr val="accent2"/>
        </a:effectRef>
        <a:fontRef idx="minor">
          <a:schemeClr val="tx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165</TotalTime>
  <Words>3673</Words>
  <Application>Microsoft Office PowerPoint</Application>
  <PresentationFormat>自定义</PresentationFormat>
  <Paragraphs>723</Paragraphs>
  <Slides>41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41</vt:i4>
      </vt:variant>
    </vt:vector>
  </HeadingPairs>
  <TitlesOfParts>
    <vt:vector size="53" baseType="lpstr">
      <vt:lpstr>-apple-system</vt:lpstr>
      <vt:lpstr>Noto Sans</vt:lpstr>
      <vt:lpstr>Noto Sans Black</vt:lpstr>
      <vt:lpstr>Noto Sans ExtraBold</vt:lpstr>
      <vt:lpstr>Noto Sans Medium</vt:lpstr>
      <vt:lpstr>宋体</vt:lpstr>
      <vt:lpstr>微软雅黑</vt:lpstr>
      <vt:lpstr>Arial</vt:lpstr>
      <vt:lpstr>Calibri</vt:lpstr>
      <vt:lpstr>Helvetica</vt:lpstr>
      <vt:lpstr>主题1</vt:lpstr>
      <vt:lpstr>think-cell 幻灯片</vt:lpstr>
      <vt:lpstr>2024 Ruijie  Service &amp; Support (V3.0)</vt:lpstr>
      <vt:lpstr>Version Information</vt:lpstr>
      <vt:lpstr>About Ruijie Networks Service</vt:lpstr>
      <vt:lpstr>PowerPoint 演示文稿</vt:lpstr>
      <vt:lpstr>PowerPoint 演示文稿</vt:lpstr>
      <vt:lpstr>Technical Support Resource</vt:lpstr>
      <vt:lpstr>Remote Technical Support Overview</vt:lpstr>
      <vt:lpstr>Ruijie Service Platform: Service Portal </vt:lpstr>
      <vt:lpstr>Ruijie Service Platform: Case Portal </vt:lpstr>
      <vt:lpstr>PowerPoint 演示文稿</vt:lpstr>
      <vt:lpstr>PowerPoint 演示文稿</vt:lpstr>
      <vt:lpstr>PowerPoint 演示文稿</vt:lpstr>
      <vt:lpstr>Ruijie Service Platform: Live Chat Support</vt:lpstr>
      <vt:lpstr>Ruijie Service Platform: Expert Support Channel</vt:lpstr>
      <vt:lpstr>Ruijie Service Platform: Global Service Hotline</vt:lpstr>
      <vt:lpstr>Technical Support Specifications</vt:lpstr>
      <vt:lpstr>Ruijie Service Platform: Community</vt:lpstr>
      <vt:lpstr>Ruijie Service Platform: Community</vt:lpstr>
      <vt:lpstr>Social Media: Facebook &amp; LinkedIn Page</vt:lpstr>
      <vt:lpstr>Social Media: YouTube Channel</vt:lpstr>
      <vt:lpstr>Onsite Support: Authorized Service Partner </vt:lpstr>
      <vt:lpstr>Onsite Service: Spare Parts Service Network Around the World</vt:lpstr>
      <vt:lpstr>Training &amp; Certification</vt:lpstr>
      <vt:lpstr>Certification for Post-Sales Engineers</vt:lpstr>
      <vt:lpstr>Online Learning Resource: E-Learning</vt:lpstr>
      <vt:lpstr>Online Learning Resource: Training Webpage</vt:lpstr>
      <vt:lpstr>Ruijie Warranty and  R-Care+ Servic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锐捷网络股份有限公司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24 Ruijie  Service &amp; Support</dc:title>
  <dc:creator>锐捷网络股份有限公司</dc:creator>
  <cp:lastModifiedBy>Joan Zhang</cp:lastModifiedBy>
  <cp:revision>90</cp:revision>
  <dcterms:created xsi:type="dcterms:W3CDTF">2024-03-29T07:20:34Z</dcterms:created>
  <dcterms:modified xsi:type="dcterms:W3CDTF">2024-08-29T03:07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0.0.0.0</vt:lpwstr>
  </property>
  <property fmtid="{D5CDD505-2E9C-101B-9397-08002B2CF9AE}" pid="3" name="ICV">
    <vt:lpwstr/>
  </property>
</Properties>
</file>